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4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5.xml" ContentType="application/vnd.openxmlformats-officedocument.them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6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notesSlides/notesSlide2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drawings/drawing1.xml" ContentType="application/vnd.openxmlformats-officedocument.drawingml.chartshape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810" r:id="rId4"/>
    <p:sldMasterId id="2147483818" r:id="rId5"/>
    <p:sldMasterId id="2147483828" r:id="rId6"/>
    <p:sldMasterId id="2147483843" r:id="rId7"/>
    <p:sldMasterId id="2147483849" r:id="rId8"/>
    <p:sldMasterId id="2147483854" r:id="rId9"/>
  </p:sldMasterIdLst>
  <p:notesMasterIdLst>
    <p:notesMasterId r:id="rId15"/>
  </p:notesMasterIdLst>
  <p:handoutMasterIdLst>
    <p:handoutMasterId r:id="rId16"/>
  </p:handoutMasterIdLst>
  <p:sldIdLst>
    <p:sldId id="1955" r:id="rId10"/>
    <p:sldId id="1960" r:id="rId11"/>
    <p:sldId id="1951" r:id="rId12"/>
    <p:sldId id="1957" r:id="rId13"/>
    <p:sldId id="1958" r:id="rId14"/>
  </p:sldIdLst>
  <p:sldSz cx="9144000" cy="6858000" type="screen4x3"/>
  <p:notesSz cx="6797675" cy="9926638"/>
  <p:custDataLst>
    <p:tags r:id="rId17"/>
  </p:custDataLst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1F1B1A"/>
        </a:solidFill>
        <a:effectLst/>
        <a:uFillTx/>
        <a:latin typeface="Tahoma"/>
        <a:ea typeface="Tahoma"/>
        <a:cs typeface="Tahoma"/>
        <a:sym typeface="Tahoma"/>
      </a:defRPr>
    </a:lvl1pPr>
    <a:lvl2pPr marL="0" marR="0" indent="4572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1F1B1A"/>
        </a:solidFill>
        <a:effectLst/>
        <a:uFillTx/>
        <a:latin typeface="Tahoma"/>
        <a:ea typeface="Tahoma"/>
        <a:cs typeface="Tahoma"/>
        <a:sym typeface="Tahoma"/>
      </a:defRPr>
    </a:lvl2pPr>
    <a:lvl3pPr marL="0" marR="0" indent="9144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1F1B1A"/>
        </a:solidFill>
        <a:effectLst/>
        <a:uFillTx/>
        <a:latin typeface="Tahoma"/>
        <a:ea typeface="Tahoma"/>
        <a:cs typeface="Tahoma"/>
        <a:sym typeface="Tahoma"/>
      </a:defRPr>
    </a:lvl3pPr>
    <a:lvl4pPr marL="0" marR="0" indent="13716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1F1B1A"/>
        </a:solidFill>
        <a:effectLst/>
        <a:uFillTx/>
        <a:latin typeface="Tahoma"/>
        <a:ea typeface="Tahoma"/>
        <a:cs typeface="Tahoma"/>
        <a:sym typeface="Tahoma"/>
      </a:defRPr>
    </a:lvl4pPr>
    <a:lvl5pPr marL="0" marR="0" indent="18288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1F1B1A"/>
        </a:solidFill>
        <a:effectLst/>
        <a:uFillTx/>
        <a:latin typeface="Tahoma"/>
        <a:ea typeface="Tahoma"/>
        <a:cs typeface="Tahoma"/>
        <a:sym typeface="Tahoma"/>
      </a:defRPr>
    </a:lvl5pPr>
    <a:lvl6pPr marL="0" marR="0" indent="22860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1F1B1A"/>
        </a:solidFill>
        <a:effectLst/>
        <a:uFillTx/>
        <a:latin typeface="Tahoma"/>
        <a:ea typeface="Tahoma"/>
        <a:cs typeface="Tahoma"/>
        <a:sym typeface="Tahoma"/>
      </a:defRPr>
    </a:lvl6pPr>
    <a:lvl7pPr marL="0" marR="0" indent="27432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1F1B1A"/>
        </a:solidFill>
        <a:effectLst/>
        <a:uFillTx/>
        <a:latin typeface="Tahoma"/>
        <a:ea typeface="Tahoma"/>
        <a:cs typeface="Tahoma"/>
        <a:sym typeface="Tahoma"/>
      </a:defRPr>
    </a:lvl7pPr>
    <a:lvl8pPr marL="0" marR="0" indent="32004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1F1B1A"/>
        </a:solidFill>
        <a:effectLst/>
        <a:uFillTx/>
        <a:latin typeface="Tahoma"/>
        <a:ea typeface="Tahoma"/>
        <a:cs typeface="Tahoma"/>
        <a:sym typeface="Tahoma"/>
      </a:defRPr>
    </a:lvl8pPr>
    <a:lvl9pPr marL="0" marR="0" indent="36576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1F1B1A"/>
        </a:solidFill>
        <a:effectLst/>
        <a:uFillTx/>
        <a:latin typeface="Tahoma"/>
        <a:ea typeface="Tahoma"/>
        <a:cs typeface="Tahoma"/>
        <a:sym typeface="Tahoma"/>
      </a:defRPr>
    </a:lvl9pPr>
  </p:defaultTextStyle>
  <p:extLst>
    <p:ext uri="{EFAFB233-063F-42B5-8137-9DF3F51BA10A}">
      <p15:sldGuideLst xmlns:p15="http://schemas.microsoft.com/office/powerpoint/2012/main">
        <p15:guide id="3" pos="5534" userDrawn="1">
          <p15:clr>
            <a:srgbClr val="A4A3A4"/>
          </p15:clr>
        </p15:guide>
        <p15:guide id="5" orient="horz" pos="3362" userDrawn="1">
          <p15:clr>
            <a:srgbClr val="A4A3A4"/>
          </p15:clr>
        </p15:guide>
        <p15:guide id="6" pos="204" userDrawn="1">
          <p15:clr>
            <a:srgbClr val="A4A3A4"/>
          </p15:clr>
        </p15:guide>
        <p15:guide id="7" pos="2880" userDrawn="1">
          <p15:clr>
            <a:srgbClr val="A4A3A4"/>
          </p15:clr>
        </p15:guide>
        <p15:guide id="8" pos="2971" userDrawn="1">
          <p15:clr>
            <a:srgbClr val="A4A3A4"/>
          </p15:clr>
        </p15:guide>
        <p15:guide id="9" pos="5125" userDrawn="1">
          <p15:clr>
            <a:srgbClr val="A4A3A4"/>
          </p15:clr>
        </p15:guide>
        <p15:guide id="10" orient="horz" pos="672" userDrawn="1">
          <p15:clr>
            <a:srgbClr val="A4A3A4"/>
          </p15:clr>
        </p15:guide>
        <p15:guide id="11" orient="horz" pos="1992" userDrawn="1">
          <p15:clr>
            <a:srgbClr val="A4A3A4"/>
          </p15:clr>
        </p15:guide>
        <p15:guide id="12" orient="horz" pos="3480" userDrawn="1">
          <p15:clr>
            <a:srgbClr val="A4A3A4"/>
          </p15:clr>
        </p15:guide>
        <p15:guide id="13" orient="horz">
          <p15:clr>
            <a:srgbClr val="A4A3A4"/>
          </p15:clr>
        </p15:guide>
        <p15:guide id="14" pos="5551">
          <p15:clr>
            <a:srgbClr val="A4A3A4"/>
          </p15:clr>
        </p15:guide>
        <p15:guide id="15" pos="1474" userDrawn="1">
          <p15:clr>
            <a:srgbClr val="A4A3A4"/>
          </p15:clr>
        </p15:guide>
        <p15:guide id="16" pos="3266" userDrawn="1">
          <p15:clr>
            <a:srgbClr val="A4A3A4"/>
          </p15:clr>
        </p15:guide>
        <p15:guide id="17" pos="2313" userDrawn="1">
          <p15:clr>
            <a:srgbClr val="A4A3A4"/>
          </p15:clr>
        </p15:guide>
        <p15:guide id="18" orient="horz" pos="1848" userDrawn="1">
          <p15:clr>
            <a:srgbClr val="A4A3A4"/>
          </p15:clr>
        </p15:guide>
        <p15:guide id="19" orient="horz" pos="1536" userDrawn="1">
          <p15:clr>
            <a:srgbClr val="A4A3A4"/>
          </p15:clr>
        </p15:guide>
        <p15:guide id="20" pos="410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FAFF"/>
    <a:srgbClr val="8ABEE8"/>
    <a:srgbClr val="E7E6E6"/>
    <a:srgbClr val="0077C8"/>
    <a:srgbClr val="E6F1FA"/>
    <a:srgbClr val="F9B234"/>
    <a:srgbClr val="ABCEEB"/>
    <a:srgbClr val="C0C0C0"/>
    <a:srgbClr val="AFABAB"/>
    <a:srgbClr val="70AD4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>
          <a:latin typeface="Tahoma"/>
          <a:ea typeface="Tahoma"/>
          <a:cs typeface="Tahoma"/>
        </a:font>
        <a:srgbClr val="1F1B1A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CEDD"/>
          </a:solidFill>
        </a:fill>
      </a:tcStyle>
    </a:wholeTbl>
    <a:band2H>
      <a:tcTxStyle/>
      <a:tcStyle>
        <a:tcBdr/>
        <a:fill>
          <a:solidFill>
            <a:srgbClr val="E6E8EF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>
          <a:latin typeface="Tahoma"/>
          <a:ea typeface="Tahoma"/>
          <a:cs typeface="Tahoma"/>
        </a:font>
        <a:srgbClr val="1F1B1A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DE5EF"/>
          </a:solidFill>
        </a:fill>
      </a:tcStyle>
    </a:wholeTbl>
    <a:band2H>
      <a:tcTxStyle/>
      <a:tcStyle>
        <a:tcBdr/>
        <a:fill>
          <a:solidFill>
            <a:srgbClr val="EFF3F7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EEE7283C-3CF3-47DC-8721-378D4A62B228}" styleName="">
    <a:tblBg/>
    <a:wholeTbl>
      <a:tcTxStyle b="off" i="off">
        <a:font>
          <a:latin typeface="Tahoma"/>
          <a:ea typeface="Tahoma"/>
          <a:cs typeface="Tahoma"/>
        </a:font>
        <a:srgbClr val="1F1B1A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CEDD"/>
          </a:solidFill>
        </a:fill>
      </a:tcStyle>
    </a:wholeTbl>
    <a:band2H>
      <a:tcTxStyle/>
      <a:tcStyle>
        <a:tcBdr/>
        <a:fill>
          <a:solidFill>
            <a:srgbClr val="E6E8EF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F821DB8-F4EB-4A41-A1BA-3FCAFE7338EE}" styleName="">
    <a:tblBg/>
    <a:wholeTbl>
      <a:tcTxStyle b="off" i="off">
        <a:font>
          <a:latin typeface="Tahoma"/>
          <a:ea typeface="Tahoma"/>
          <a:cs typeface="Tahoma"/>
        </a:font>
        <a:srgbClr val="1F1B1A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7E7E7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1F1B1A"/>
        </a:fontRef>
        <a:srgbClr val="1F1B1A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1F1B1A"/>
              </a:solidFill>
              <a:prstDash val="solid"/>
              <a:round/>
            </a:ln>
          </a:top>
          <a:bottom>
            <a:ln w="25400" cap="flat">
              <a:solidFill>
                <a:srgbClr val="1F1B1A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1F1B1A"/>
              </a:solidFill>
              <a:prstDash val="solid"/>
              <a:round/>
            </a:ln>
          </a:top>
          <a:bottom>
            <a:ln w="25400" cap="flat">
              <a:solidFill>
                <a:srgbClr val="1F1B1A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33BA23B1-9221-436E-865A-0063620EA4FD}" styleName="">
    <a:tblBg/>
    <a:wholeTbl>
      <a:tcTxStyle b="off" i="off">
        <a:font>
          <a:latin typeface="Tahoma"/>
          <a:ea typeface="Tahoma"/>
          <a:cs typeface="Tahoma"/>
        </a:font>
        <a:srgbClr val="1F1B1A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BCBCB"/>
          </a:solidFill>
        </a:fill>
      </a:tcStyle>
    </a:wholeTbl>
    <a:band2H>
      <a:tcTxStyle/>
      <a:tcStyle>
        <a:tcBdr/>
        <a:fill>
          <a:solidFill>
            <a:srgbClr val="E7E7E7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1F1B1A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1F1B1A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1F1B1A"/>
          </a:solidFill>
        </a:fill>
      </a:tcStyle>
    </a:firstRow>
  </a:tblStyle>
  <a:tblStyle styleId="{2708684C-4D16-4618-839F-0558EEFCDFE6}" styleName="">
    <a:tblBg/>
    <a:wholeTbl>
      <a:tcTxStyle b="off" i="off">
        <a:font>
          <a:latin typeface="Tahoma"/>
          <a:ea typeface="Tahoma"/>
          <a:cs typeface="Tahoma"/>
        </a:font>
        <a:srgbClr val="1F1B1A"/>
      </a:tcTxStyle>
      <a:tcStyle>
        <a:tcBdr>
          <a:left>
            <a:ln w="12700" cap="flat">
              <a:solidFill>
                <a:srgbClr val="1F1B1A"/>
              </a:solidFill>
              <a:prstDash val="solid"/>
              <a:round/>
            </a:ln>
          </a:left>
          <a:right>
            <a:ln w="12700" cap="flat">
              <a:solidFill>
                <a:srgbClr val="1F1B1A"/>
              </a:solidFill>
              <a:prstDash val="solid"/>
              <a:round/>
            </a:ln>
          </a:right>
          <a:top>
            <a:ln w="12700" cap="flat">
              <a:solidFill>
                <a:srgbClr val="1F1B1A"/>
              </a:solidFill>
              <a:prstDash val="solid"/>
              <a:round/>
            </a:ln>
          </a:top>
          <a:bottom>
            <a:ln w="12700" cap="flat">
              <a:solidFill>
                <a:srgbClr val="1F1B1A"/>
              </a:solidFill>
              <a:prstDash val="solid"/>
              <a:round/>
            </a:ln>
          </a:bottom>
          <a:insideH>
            <a:ln w="12700" cap="flat">
              <a:solidFill>
                <a:srgbClr val="1F1B1A"/>
              </a:solidFill>
              <a:prstDash val="solid"/>
              <a:round/>
            </a:ln>
          </a:insideH>
          <a:insideV>
            <a:ln w="12700" cap="flat">
              <a:solidFill>
                <a:srgbClr val="1F1B1A"/>
              </a:solidFill>
              <a:prstDash val="solid"/>
              <a:round/>
            </a:ln>
          </a:insideV>
        </a:tcBdr>
        <a:fill>
          <a:solidFill>
            <a:srgbClr val="1F1B1A">
              <a:alpha val="20000"/>
            </a:srgbClr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ajor">
          <a:srgbClr val="1F1B1A"/>
        </a:fontRef>
        <a:srgbClr val="1F1B1A"/>
      </a:tcTxStyle>
      <a:tcStyle>
        <a:tcBdr>
          <a:left>
            <a:ln w="12700" cap="flat">
              <a:solidFill>
                <a:srgbClr val="1F1B1A"/>
              </a:solidFill>
              <a:prstDash val="solid"/>
              <a:round/>
            </a:ln>
          </a:left>
          <a:right>
            <a:ln w="12700" cap="flat">
              <a:solidFill>
                <a:srgbClr val="1F1B1A"/>
              </a:solidFill>
              <a:prstDash val="solid"/>
              <a:round/>
            </a:ln>
          </a:right>
          <a:top>
            <a:ln w="12700" cap="flat">
              <a:solidFill>
                <a:srgbClr val="1F1B1A"/>
              </a:solidFill>
              <a:prstDash val="solid"/>
              <a:round/>
            </a:ln>
          </a:top>
          <a:bottom>
            <a:ln w="12700" cap="flat">
              <a:solidFill>
                <a:srgbClr val="1F1B1A"/>
              </a:solidFill>
              <a:prstDash val="solid"/>
              <a:round/>
            </a:ln>
          </a:bottom>
          <a:insideH>
            <a:ln w="12700" cap="flat">
              <a:solidFill>
                <a:srgbClr val="1F1B1A"/>
              </a:solidFill>
              <a:prstDash val="solid"/>
              <a:round/>
            </a:ln>
          </a:insideH>
          <a:insideV>
            <a:ln w="12700" cap="flat">
              <a:solidFill>
                <a:srgbClr val="1F1B1A"/>
              </a:solidFill>
              <a:prstDash val="solid"/>
              <a:round/>
            </a:ln>
          </a:insideV>
        </a:tcBdr>
        <a:fill>
          <a:solidFill>
            <a:srgbClr val="1F1B1A">
              <a:alpha val="20000"/>
            </a:srgbClr>
          </a:solidFill>
        </a:fill>
      </a:tcStyle>
    </a:firstCol>
    <a:lastRow>
      <a:tcTxStyle b="on" i="off">
        <a:fontRef idx="major">
          <a:srgbClr val="1F1B1A"/>
        </a:fontRef>
        <a:srgbClr val="1F1B1A"/>
      </a:tcTxStyle>
      <a:tcStyle>
        <a:tcBdr>
          <a:left>
            <a:ln w="12700" cap="flat">
              <a:solidFill>
                <a:srgbClr val="1F1B1A"/>
              </a:solidFill>
              <a:prstDash val="solid"/>
              <a:round/>
            </a:ln>
          </a:left>
          <a:right>
            <a:ln w="12700" cap="flat">
              <a:solidFill>
                <a:srgbClr val="1F1B1A"/>
              </a:solidFill>
              <a:prstDash val="solid"/>
              <a:round/>
            </a:ln>
          </a:right>
          <a:top>
            <a:ln w="50800" cap="flat">
              <a:solidFill>
                <a:srgbClr val="1F1B1A"/>
              </a:solidFill>
              <a:prstDash val="solid"/>
              <a:round/>
            </a:ln>
          </a:top>
          <a:bottom>
            <a:ln w="12700" cap="flat">
              <a:solidFill>
                <a:srgbClr val="1F1B1A"/>
              </a:solidFill>
              <a:prstDash val="solid"/>
              <a:round/>
            </a:ln>
          </a:bottom>
          <a:insideH>
            <a:ln w="12700" cap="flat">
              <a:solidFill>
                <a:srgbClr val="1F1B1A"/>
              </a:solidFill>
              <a:prstDash val="solid"/>
              <a:round/>
            </a:ln>
          </a:insideH>
          <a:insideV>
            <a:ln w="12700" cap="flat">
              <a:solidFill>
                <a:srgbClr val="1F1B1A"/>
              </a:solidFill>
              <a:prstDash val="solid"/>
              <a:round/>
            </a:ln>
          </a:insideV>
        </a:tcBdr>
        <a:fill>
          <a:noFill/>
        </a:fill>
      </a:tcStyle>
    </a:lastRow>
    <a:firstRow>
      <a:tcTxStyle b="on" i="off">
        <a:fontRef idx="major">
          <a:srgbClr val="1F1B1A"/>
        </a:fontRef>
        <a:srgbClr val="1F1B1A"/>
      </a:tcTxStyle>
      <a:tcStyle>
        <a:tcBdr>
          <a:left>
            <a:ln w="12700" cap="flat">
              <a:solidFill>
                <a:srgbClr val="1F1B1A"/>
              </a:solidFill>
              <a:prstDash val="solid"/>
              <a:round/>
            </a:ln>
          </a:left>
          <a:right>
            <a:ln w="12700" cap="flat">
              <a:solidFill>
                <a:srgbClr val="1F1B1A"/>
              </a:solidFill>
              <a:prstDash val="solid"/>
              <a:round/>
            </a:ln>
          </a:right>
          <a:top>
            <a:ln w="12700" cap="flat">
              <a:solidFill>
                <a:srgbClr val="1F1B1A"/>
              </a:solidFill>
              <a:prstDash val="solid"/>
              <a:round/>
            </a:ln>
          </a:top>
          <a:bottom>
            <a:ln w="25400" cap="flat">
              <a:solidFill>
                <a:srgbClr val="1F1B1A"/>
              </a:solidFill>
              <a:prstDash val="solid"/>
              <a:round/>
            </a:ln>
          </a:bottom>
          <a:insideH>
            <a:ln w="12700" cap="flat">
              <a:solidFill>
                <a:srgbClr val="1F1B1A"/>
              </a:solidFill>
              <a:prstDash val="solid"/>
              <a:round/>
            </a:ln>
          </a:insideH>
          <a:insideV>
            <a:ln w="12700" cap="flat">
              <a:solidFill>
                <a:srgbClr val="1F1B1A"/>
              </a:solidFill>
              <a:prstDash val="solid"/>
              <a:round/>
            </a:ln>
          </a:insideV>
        </a:tcBdr>
        <a:fill>
          <a:noFill/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666" autoAdjust="0"/>
    <p:restoredTop sz="96720" autoAdjust="0"/>
  </p:normalViewPr>
  <p:slideViewPr>
    <p:cSldViewPr snapToGrid="0">
      <p:cViewPr varScale="1">
        <p:scale>
          <a:sx n="66" d="100"/>
          <a:sy n="66" d="100"/>
        </p:scale>
        <p:origin x="1436" y="52"/>
      </p:cViewPr>
      <p:guideLst>
        <p:guide pos="5534"/>
        <p:guide orient="horz" pos="3362"/>
        <p:guide pos="204"/>
        <p:guide pos="2880"/>
        <p:guide pos="2971"/>
        <p:guide pos="5125"/>
        <p:guide orient="horz" pos="672"/>
        <p:guide orient="horz" pos="1992"/>
        <p:guide orient="horz" pos="3480"/>
        <p:guide orient="horz"/>
        <p:guide pos="5551"/>
        <p:guide pos="1474"/>
        <p:guide pos="3266"/>
        <p:guide pos="2313"/>
        <p:guide orient="horz" pos="1848"/>
        <p:guide orient="horz" pos="1536"/>
        <p:guide pos="4105"/>
      </p:guideLst>
    </p:cSldViewPr>
  </p:slideViewPr>
  <p:outlineViewPr>
    <p:cViewPr>
      <p:scale>
        <a:sx n="33" d="100"/>
        <a:sy n="33" d="100"/>
      </p:scale>
      <p:origin x="0" y="-5298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7" d="100"/>
          <a:sy n="77" d="100"/>
        </p:scale>
        <p:origin x="4002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1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.xlsx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chartUserShapes" Target="../drawings/drawing1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0077C8"/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</c:numCache>
            </c:numRef>
          </c:cat>
          <c:val>
            <c:numRef>
              <c:f>Лист1!$B$2:$B$4</c:f>
              <c:numCache>
                <c:formatCode>0%</c:formatCode>
                <c:ptCount val="3"/>
                <c:pt idx="0">
                  <c:v>0.86</c:v>
                </c:pt>
                <c:pt idx="1">
                  <c:v>0.85</c:v>
                </c:pt>
                <c:pt idx="2">
                  <c:v>0.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3B2-45CC-A2A9-BFC00EB252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09631808"/>
        <c:axId val="609632592"/>
      </c:barChart>
      <c:catAx>
        <c:axId val="6096318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pPr>
            <a:endParaRPr lang="en-US"/>
          </a:p>
        </c:txPr>
        <c:crossAx val="609632592"/>
        <c:crosses val="autoZero"/>
        <c:auto val="1"/>
        <c:lblAlgn val="ctr"/>
        <c:lblOffset val="100"/>
        <c:noMultiLvlLbl val="0"/>
      </c:catAx>
      <c:valAx>
        <c:axId val="609632592"/>
        <c:scaling>
          <c:orientation val="minMax"/>
          <c:max val="1"/>
        </c:scaling>
        <c:delete val="1"/>
        <c:axPos val="l"/>
        <c:numFmt formatCode="0%" sourceLinked="1"/>
        <c:majorTickMark val="none"/>
        <c:minorTickMark val="none"/>
        <c:tickLblPos val="nextTo"/>
        <c:crossAx val="609631808"/>
        <c:crosses val="autoZero"/>
        <c:crossBetween val="between"/>
        <c:majorUnit val="0.1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6006430454849234E-2"/>
          <c:y val="0.13205140501294788"/>
          <c:w val="0.926649211294715"/>
          <c:h val="0.7046367982548562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0077C8"/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</c:numCache>
            </c:numRef>
          </c:cat>
          <c:val>
            <c:numRef>
              <c:f>Лист1!$B$2:$B$4</c:f>
              <c:numCache>
                <c:formatCode>0%</c:formatCode>
                <c:ptCount val="3"/>
                <c:pt idx="0">
                  <c:v>0.36</c:v>
                </c:pt>
                <c:pt idx="1">
                  <c:v>0.38</c:v>
                </c:pt>
                <c:pt idx="2">
                  <c:v>0.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469-4299-826E-BF0C276025F9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bg1"/>
            </a:solidFill>
            <a:ln w="3175">
              <a:solidFill>
                <a:srgbClr val="0077C8"/>
              </a:solidFill>
            </a:ln>
            <a:effectLst/>
          </c:spPr>
          <c:invertIfNegative val="0"/>
          <c:cat>
            <c:numRef>
              <c:f>Лист1!$A$2:$A$4</c:f>
              <c:numCache>
                <c:formatCode>General</c:formatCode>
                <c:ptCount val="3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</c:numCache>
            </c:numRef>
          </c:cat>
          <c:val>
            <c:numRef>
              <c:f>Лист1!$C$2:$C$4</c:f>
              <c:numCache>
                <c:formatCode>0%</c:formatCode>
                <c:ptCount val="3"/>
                <c:pt idx="0">
                  <c:v>0.64</c:v>
                </c:pt>
                <c:pt idx="1">
                  <c:v>0.62</c:v>
                </c:pt>
                <c:pt idx="2">
                  <c:v>0.5600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469-4299-826E-BF0C276025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0"/>
        <c:overlap val="100"/>
        <c:axId val="609634944"/>
        <c:axId val="609635336"/>
      </c:barChart>
      <c:catAx>
        <c:axId val="6096349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pPr>
            <a:endParaRPr lang="en-US"/>
          </a:p>
        </c:txPr>
        <c:crossAx val="609635336"/>
        <c:crosses val="autoZero"/>
        <c:auto val="1"/>
        <c:lblAlgn val="ctr"/>
        <c:lblOffset val="100"/>
        <c:noMultiLvlLbl val="0"/>
      </c:catAx>
      <c:valAx>
        <c:axId val="609635336"/>
        <c:scaling>
          <c:orientation val="minMax"/>
          <c:max val="1"/>
          <c:min val="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out"/>
        <c:minorTickMark val="none"/>
        <c:tickLblPos val="nextTo"/>
        <c:crossAx val="609634944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8310630721961745E-3"/>
          <c:y val="7.3902581941878473E-2"/>
          <c:w val="0.97912370759230449"/>
          <c:h val="0.757982415548357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CA0-4B19-B21D-BC20600E5F28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4CA0-4B19-B21D-BC20600E5F28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4CA0-4B19-B21D-BC20600E5F28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4CA0-4B19-B21D-BC20600E5F28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7</c:f>
              <c:strCache>
                <c:ptCount val="5"/>
                <c:pt idx="0">
                  <c:v>Peer 1</c:v>
                </c:pt>
                <c:pt idx="1">
                  <c:v>Peer 2</c:v>
                </c:pt>
                <c:pt idx="2">
                  <c:v>Peer 3</c:v>
                </c:pt>
                <c:pt idx="3">
                  <c:v>Peer 4</c:v>
                </c:pt>
                <c:pt idx="4">
                  <c:v>Peer 5</c:v>
                </c:pt>
              </c:strCache>
            </c:str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30.3</c:v>
                </c:pt>
                <c:pt idx="1">
                  <c:v>28.2</c:v>
                </c:pt>
                <c:pt idx="2">
                  <c:v>16.5</c:v>
                </c:pt>
                <c:pt idx="3">
                  <c:v>16.100000000000001</c:v>
                </c:pt>
                <c:pt idx="4">
                  <c:v>14.2</c:v>
                </c:pt>
                <c:pt idx="5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CA0-4B19-B21D-BC20600E5F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09638472"/>
        <c:axId val="609638864"/>
      </c:barChart>
      <c:catAx>
        <c:axId val="6096384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9638864"/>
        <c:crosses val="autoZero"/>
        <c:auto val="1"/>
        <c:lblAlgn val="ctr"/>
        <c:lblOffset val="100"/>
        <c:noMultiLvlLbl val="0"/>
      </c:catAx>
      <c:valAx>
        <c:axId val="609638864"/>
        <c:scaling>
          <c:orientation val="minMax"/>
          <c:max val="35"/>
        </c:scaling>
        <c:delete val="1"/>
        <c:axPos val="l"/>
        <c:numFmt formatCode="General" sourceLinked="1"/>
        <c:majorTickMark val="none"/>
        <c:minorTickMark val="none"/>
        <c:tickLblPos val="nextTo"/>
        <c:crossAx val="609638472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419591574997331E-2"/>
          <c:y val="0.14756205579278187"/>
          <c:w val="0.93087689853500588"/>
          <c:h val="0.62736979592223396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28575" cap="rnd">
              <a:solidFill>
                <a:srgbClr val="004C97"/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chemeClr val="bg1"/>
              </a:solidFill>
              <a:ln w="22225">
                <a:solidFill>
                  <a:srgbClr val="004C97"/>
                </a:solidFill>
              </a:ln>
              <a:effectLst/>
            </c:spPr>
          </c:marker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rgbClr val="004C97"/>
                      </a:solidFill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defRPr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15C6-45ED-8775-E19822690FC6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rgbClr val="004C97"/>
                      </a:solidFill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defRPr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15C6-45ED-8775-E19822690FC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rgbClr val="004C97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5</c:f>
              <c:numCache>
                <c:formatCode>General</c:formatCode>
                <c:ptCount val="4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</c:numCache>
            </c:num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46</c:v>
                </c:pt>
                <c:pt idx="1">
                  <c:v>49</c:v>
                </c:pt>
                <c:pt idx="2">
                  <c:v>58</c:v>
                </c:pt>
                <c:pt idx="3">
                  <c:v>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E17-4046-8091-1571BBC02D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029133296"/>
        <c:axId val="-2029132904"/>
      </c:lineChart>
      <c:catAx>
        <c:axId val="-20291332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6350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pPr>
            <a:endParaRPr lang="en-US"/>
          </a:p>
        </c:txPr>
        <c:crossAx val="-2029132904"/>
        <c:crosses val="autoZero"/>
        <c:auto val="1"/>
        <c:lblAlgn val="ctr"/>
        <c:lblOffset val="100"/>
        <c:noMultiLvlLbl val="0"/>
      </c:catAx>
      <c:valAx>
        <c:axId val="-202913290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-20291332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pPr>
      <a:endParaRPr lang="en-US"/>
    </a:p>
  </c:txPr>
  <c:externalData r:id="rId3">
    <c:autoUpdate val="0"/>
  </c:externalData>
  <c:userShapes r:id="rId4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419591574997331E-2"/>
          <c:y val="7.2367943698119691E-2"/>
          <c:w val="0.93087689853500588"/>
          <c:h val="0.73475122053447817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28575" cap="rnd">
              <a:solidFill>
                <a:srgbClr val="004C97"/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chemeClr val="bg1"/>
              </a:solidFill>
              <a:ln w="22225">
                <a:solidFill>
                  <a:srgbClr val="004C97"/>
                </a:solidFill>
              </a:ln>
              <a:effectLst/>
            </c:spPr>
          </c:marker>
          <c:dLbls>
            <c:dLbl>
              <c:idx val="0"/>
              <c:layout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200" b="0" i="0" u="none" strike="noStrike" kern="1200" baseline="0">
                        <a:solidFill>
                          <a:srgbClr val="004C97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defRPr>
                    </a:pPr>
                    <a:r>
                      <a:rPr lang="en-US" b="0" smtClean="0"/>
                      <a:t>CCC</a:t>
                    </a:r>
                    <a:endParaRPr lang="en-US" b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rgbClr val="004C97"/>
                      </a:solidFill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defRPr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0E97-48F4-A4E3-6C606C351819}"/>
                </c:ext>
              </c:extLst>
            </c:dLbl>
            <c:dLbl>
              <c:idx val="1"/>
              <c:layout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200" b="0" i="0" u="none" strike="noStrike" kern="1200" baseline="0">
                        <a:solidFill>
                          <a:srgbClr val="004C97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defRPr>
                    </a:pPr>
                    <a:r>
                      <a:rPr lang="en-US" b="0" smtClean="0"/>
                      <a:t>CCC</a:t>
                    </a:r>
                    <a:endParaRPr lang="en-US" b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rgbClr val="004C97"/>
                      </a:solidFill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defRPr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0E97-48F4-A4E3-6C606C351819}"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B</a:t>
                    </a:r>
                    <a:endParaRPr lang="en-US" dirty="0"/>
                  </a:p>
                </c:rich>
              </c:tx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0E97-48F4-A4E3-6C606C351819}"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B</a:t>
                    </a:r>
                    <a:endParaRPr lang="en-US"/>
                  </a:p>
                </c:rich>
              </c:tx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0E97-48F4-A4E3-6C606C35181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rgbClr val="004C97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5</c:f>
              <c:numCache>
                <c:formatCode>General</c:formatCode>
                <c:ptCount val="4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</c:numCache>
            </c:num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40</c:v>
                </c:pt>
                <c:pt idx="1">
                  <c:v>40</c:v>
                </c:pt>
                <c:pt idx="2">
                  <c:v>55</c:v>
                </c:pt>
                <c:pt idx="3">
                  <c:v>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E97-48F4-A4E3-6C606C3518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029132120"/>
        <c:axId val="-2029131728"/>
      </c:lineChart>
      <c:catAx>
        <c:axId val="-20291321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6350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pPr>
            <a:endParaRPr lang="en-US"/>
          </a:p>
        </c:txPr>
        <c:crossAx val="-2029131728"/>
        <c:crosses val="autoZero"/>
        <c:auto val="1"/>
        <c:lblAlgn val="ctr"/>
        <c:lblOffset val="100"/>
        <c:noMultiLvlLbl val="0"/>
      </c:catAx>
      <c:valAx>
        <c:axId val="-202913172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-20291321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419591574997331E-2"/>
          <c:y val="3.4027285142517891E-2"/>
          <c:w val="0.93087689853500588"/>
          <c:h val="0.67638241268896382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Governance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chemeClr val="bg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306801586871151E-2"/>
                  <c:y val="-8.80184115884172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9A3F-47D9-9482-22D290AC0C8E}"/>
                </c:ext>
              </c:extLst>
            </c:dLbl>
            <c:dLbl>
              <c:idx val="1"/>
              <c:layout>
                <c:manualLayout>
                  <c:x val="-3.8938726809079845E-2"/>
                  <c:y val="-6.651112931295805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9A3F-47D9-9482-22D290AC0C8E}"/>
                </c:ext>
              </c:extLst>
            </c:dLbl>
            <c:dLbl>
              <c:idx val="2"/>
              <c:layout>
                <c:manualLayout>
                  <c:x val="-3.8938726809079963E-2"/>
                  <c:y val="-7.368022340477781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9A3F-47D9-9482-22D290AC0C8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ноябрь 2018</c:v>
                </c:pt>
                <c:pt idx="1">
                  <c:v>июль 2019 </c:v>
                </c:pt>
                <c:pt idx="2">
                  <c:v>октябрь 2019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6</c:v>
                </c:pt>
                <c:pt idx="1">
                  <c:v>4</c:v>
                </c:pt>
                <c:pt idx="2">
                  <c:v>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A3F-47D9-9482-22D290AC0C8E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Environment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8089706256884077E-2"/>
                  <c:y val="-7.88600350100170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9A3F-47D9-9482-22D290AC0C8E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A3F-47D9-9482-22D290AC0C8E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9A3F-47D9-9482-22D290AC0C8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ноябрь 2018</c:v>
                </c:pt>
                <c:pt idx="1">
                  <c:v>июль 2019 </c:v>
                </c:pt>
                <c:pt idx="2">
                  <c:v>октябрь 2019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4</c:v>
                </c:pt>
                <c:pt idx="1">
                  <c:v>4</c:v>
                </c:pt>
                <c:pt idx="2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A3F-47D9-9482-22D290AC0C8E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Social 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9525">
                <a:solidFill>
                  <a:schemeClr val="bg1">
                    <a:lumMod val="50000"/>
                    <a:alpha val="96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8089706256884077E-2"/>
                  <c:y val="7.16909409181971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9-9A3F-47D9-9482-22D290AC0C8E}"/>
                </c:ext>
              </c:extLst>
            </c:dLbl>
            <c:dLbl>
              <c:idx val="1"/>
              <c:layout>
                <c:manualLayout>
                  <c:x val="-3.1741421880736788E-2"/>
                  <c:y val="7.16909409181971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A-9A3F-47D9-9482-22D290AC0C8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ноябрь 2018</c:v>
                </c:pt>
                <c:pt idx="1">
                  <c:v>июль 2019 </c:v>
                </c:pt>
                <c:pt idx="2">
                  <c:v>октябрь 2019</c:v>
                </c:pt>
              </c:strCache>
            </c:strRef>
          </c:cat>
          <c:val>
            <c:numRef>
              <c:f>Лист1!$D$2:$D$4</c:f>
              <c:numCache>
                <c:formatCode>General</c:formatCode>
                <c:ptCount val="3"/>
                <c:pt idx="0">
                  <c:v>3</c:v>
                </c:pt>
                <c:pt idx="1">
                  <c:v>3</c:v>
                </c:pt>
                <c:pt idx="2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A3F-47D9-9482-22D290AC0C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029133296"/>
        <c:axId val="-2029132904"/>
      </c:lineChart>
      <c:catAx>
        <c:axId val="-20291332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029132904"/>
        <c:crosses val="autoZero"/>
        <c:auto val="1"/>
        <c:lblAlgn val="ctr"/>
        <c:lblOffset val="100"/>
        <c:noMultiLvlLbl val="0"/>
      </c:catAx>
      <c:valAx>
        <c:axId val="-2029132904"/>
        <c:scaling>
          <c:orientation val="minMax"/>
          <c:max val="7"/>
          <c:min val="1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-2029133296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3995594443508907E-2"/>
          <c:y val="6.2812545243467174E-2"/>
          <c:w val="0.93200881111298217"/>
          <c:h val="0.66350550655147889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Norilsk </c:v>
                </c:pt>
              </c:strCache>
            </c:strRef>
          </c:tx>
          <c:spPr>
            <a:ln w="28575" cap="rnd">
              <a:solidFill>
                <a:schemeClr val="tx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1633560100414791E-2"/>
                  <c:y val="3.426138831461835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AB69-4650-B98D-E38C7F6AE7C8}"/>
                </c:ext>
              </c:extLst>
            </c:dLbl>
            <c:dLbl>
              <c:idx val="1"/>
              <c:layout>
                <c:manualLayout>
                  <c:x val="-2.781457727196195E-2"/>
                  <c:y val="6.281254524346716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AB69-4650-B98D-E38C7F6AE7C8}"/>
                </c:ext>
              </c:extLst>
            </c:dLbl>
            <c:dLbl>
              <c:idx val="2"/>
              <c:layout>
                <c:manualLayout>
                  <c:x val="-3.0905085857735371E-2"/>
                  <c:y val="7.994323940077641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AB69-4650-B98D-E38C7F6AE7C8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</c:numCache>
            </c:num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2.4</c:v>
                </c:pt>
                <c:pt idx="1">
                  <c:v>3.1</c:v>
                </c:pt>
                <c:pt idx="2">
                  <c:v>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B69-4650-B98D-E38C7F6AE7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15724256"/>
        <c:axId val="615725088"/>
      </c:lineChart>
      <c:catAx>
        <c:axId val="6157242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5725088"/>
        <c:crosses val="autoZero"/>
        <c:auto val="1"/>
        <c:lblAlgn val="ctr"/>
        <c:lblOffset val="100"/>
        <c:noMultiLvlLbl val="0"/>
      </c:catAx>
      <c:valAx>
        <c:axId val="615725088"/>
        <c:scaling>
          <c:orientation val="minMax"/>
          <c:min val="1.5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6157242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63672</cdr:x>
      <cdr:y>0.36603</cdr:y>
    </cdr:from>
    <cdr:to>
      <cdr:x>0.92994</cdr:x>
      <cdr:y>0.60293</cdr:y>
    </cdr:to>
    <cdr:sp macro="" textlink="">
      <cdr:nvSpPr>
        <cdr:cNvPr id="2" name="TextBox 7"/>
        <cdr:cNvSpPr txBox="1"/>
      </cdr:nvSpPr>
      <cdr:spPr>
        <a:xfrm xmlns:a="http://schemas.openxmlformats.org/drawingml/2006/main">
          <a:off x="2416790" y="618212"/>
          <a:ext cx="1112979" cy="400115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 marL="0" marR="0" indent="0" algn="l" defTabSz="914400" rtl="0" fontAlgn="auto" latinLnBrk="1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defRPr>
          </a:defPPr>
          <a:lvl1pPr marL="0" marR="0" indent="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rgbClr val="1F1B1A"/>
              </a:solidFill>
              <a:effectLst/>
              <a:uFillTx/>
              <a:latin typeface="Tahoma"/>
              <a:ea typeface="Tahoma"/>
              <a:cs typeface="Tahoma"/>
              <a:sym typeface="Tahoma"/>
            </a:defRPr>
          </a:lvl1pPr>
          <a:lvl2pPr marL="0" marR="0" indent="4572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rgbClr val="1F1B1A"/>
              </a:solidFill>
              <a:effectLst/>
              <a:uFillTx/>
              <a:latin typeface="Tahoma"/>
              <a:ea typeface="Tahoma"/>
              <a:cs typeface="Tahoma"/>
              <a:sym typeface="Tahoma"/>
            </a:defRPr>
          </a:lvl2pPr>
          <a:lvl3pPr marL="0" marR="0" indent="9144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rgbClr val="1F1B1A"/>
              </a:solidFill>
              <a:effectLst/>
              <a:uFillTx/>
              <a:latin typeface="Tahoma"/>
              <a:ea typeface="Tahoma"/>
              <a:cs typeface="Tahoma"/>
              <a:sym typeface="Tahoma"/>
            </a:defRPr>
          </a:lvl3pPr>
          <a:lvl4pPr marL="0" marR="0" indent="13716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rgbClr val="1F1B1A"/>
              </a:solidFill>
              <a:effectLst/>
              <a:uFillTx/>
              <a:latin typeface="Tahoma"/>
              <a:ea typeface="Tahoma"/>
              <a:cs typeface="Tahoma"/>
              <a:sym typeface="Tahoma"/>
            </a:defRPr>
          </a:lvl4pPr>
          <a:lvl5pPr marL="0" marR="0" indent="18288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rgbClr val="1F1B1A"/>
              </a:solidFill>
              <a:effectLst/>
              <a:uFillTx/>
              <a:latin typeface="Tahoma"/>
              <a:ea typeface="Tahoma"/>
              <a:cs typeface="Tahoma"/>
              <a:sym typeface="Tahoma"/>
            </a:defRPr>
          </a:lvl5pPr>
          <a:lvl6pPr marL="0" marR="0" indent="22860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rgbClr val="1F1B1A"/>
              </a:solidFill>
              <a:effectLst/>
              <a:uFillTx/>
              <a:latin typeface="Tahoma"/>
              <a:ea typeface="Tahoma"/>
              <a:cs typeface="Tahoma"/>
              <a:sym typeface="Tahoma"/>
            </a:defRPr>
          </a:lvl6pPr>
          <a:lvl7pPr marL="0" marR="0" indent="27432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rgbClr val="1F1B1A"/>
              </a:solidFill>
              <a:effectLst/>
              <a:uFillTx/>
              <a:latin typeface="Tahoma"/>
              <a:ea typeface="Tahoma"/>
              <a:cs typeface="Tahoma"/>
              <a:sym typeface="Tahoma"/>
            </a:defRPr>
          </a:lvl7pPr>
          <a:lvl8pPr marL="0" marR="0" indent="32004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rgbClr val="1F1B1A"/>
              </a:solidFill>
              <a:effectLst/>
              <a:uFillTx/>
              <a:latin typeface="Tahoma"/>
              <a:ea typeface="Tahoma"/>
              <a:cs typeface="Tahoma"/>
              <a:sym typeface="Tahoma"/>
            </a:defRPr>
          </a:lvl8pPr>
          <a:lvl9pPr marL="0" marR="0" indent="36576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rgbClr val="1F1B1A"/>
              </a:solidFill>
              <a:effectLst/>
              <a:uFillTx/>
              <a:latin typeface="Tahoma"/>
              <a:ea typeface="Tahoma"/>
              <a:cs typeface="Tahoma"/>
              <a:sym typeface="Tahoma"/>
            </a:defRPr>
          </a:lvl9pPr>
        </a:lstStyle>
        <a:p xmlns:a="http://schemas.openxmlformats.org/drawingml/2006/main">
          <a:pPr algn="r"/>
          <a:r>
            <a:rPr lang="en-US" sz="1000" b="1" i="1" dirty="0" smtClean="0">
              <a:solidFill>
                <a:srgbClr val="C00000"/>
              </a:solidFill>
            </a:rPr>
            <a:t>Average</a:t>
          </a:r>
          <a:br>
            <a:rPr lang="en-US" sz="1000" b="1" i="1" dirty="0" smtClean="0">
              <a:solidFill>
                <a:srgbClr val="C00000"/>
              </a:solidFill>
            </a:rPr>
          </a:br>
          <a:r>
            <a:rPr lang="en-US" sz="1000" b="1" i="1" dirty="0" smtClean="0">
              <a:solidFill>
                <a:srgbClr val="C00000"/>
              </a:solidFill>
            </a:rPr>
            <a:t> performer</a:t>
          </a:r>
          <a:endParaRPr lang="en-US" sz="1000" b="1" i="1" dirty="0">
            <a:solidFill>
              <a:srgbClr val="C00000"/>
            </a:solidFill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0" y="3"/>
            <a:ext cx="2945659" cy="498056"/>
          </a:xfrm>
          <a:prstGeom prst="rect">
            <a:avLst/>
          </a:prstGeom>
        </p:spPr>
        <p:txBody>
          <a:bodyPr vert="horz" lIns="91391" tIns="45698" rIns="91391" bIns="45698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53" y="3"/>
            <a:ext cx="2945659" cy="498056"/>
          </a:xfrm>
          <a:prstGeom prst="rect">
            <a:avLst/>
          </a:prstGeom>
        </p:spPr>
        <p:txBody>
          <a:bodyPr vert="horz" lIns="91391" tIns="45698" rIns="91391" bIns="45698" rtlCol="0"/>
          <a:lstStyle>
            <a:lvl1pPr algn="r">
              <a:defRPr sz="1200"/>
            </a:lvl1pPr>
          </a:lstStyle>
          <a:p>
            <a:fld id="{3B8F3083-A1F3-4B75-996A-684622D9ECAA}" type="datetime1">
              <a:rPr lang="ru-RU" smtClean="0"/>
              <a:t>12.11.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0" y="9428589"/>
            <a:ext cx="2945659" cy="498055"/>
          </a:xfrm>
          <a:prstGeom prst="rect">
            <a:avLst/>
          </a:prstGeom>
        </p:spPr>
        <p:txBody>
          <a:bodyPr vert="horz" lIns="91391" tIns="45698" rIns="91391" bIns="45698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53" y="9428589"/>
            <a:ext cx="2945659" cy="498055"/>
          </a:xfrm>
          <a:prstGeom prst="rect">
            <a:avLst/>
          </a:prstGeom>
        </p:spPr>
        <p:txBody>
          <a:bodyPr vert="horz" lIns="91391" tIns="45698" rIns="91391" bIns="45698" rtlCol="0" anchor="b"/>
          <a:lstStyle>
            <a:lvl1pPr algn="r">
              <a:defRPr sz="1200"/>
            </a:lvl1pPr>
          </a:lstStyle>
          <a:p>
            <a:fld id="{949EA1D6-7E2E-46AA-AE06-457001925F2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3883237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Shape 80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</p:spPr>
        <p:txBody>
          <a:bodyPr lIns="91391" tIns="45698" rIns="91391" bIns="45698"/>
          <a:lstStyle/>
          <a:p>
            <a:endParaRPr dirty="0"/>
          </a:p>
        </p:txBody>
      </p:sp>
      <p:sp>
        <p:nvSpPr>
          <p:cNvPr id="81" name="Shape 81"/>
          <p:cNvSpPr>
            <a:spLocks noGrp="1"/>
          </p:cNvSpPr>
          <p:nvPr>
            <p:ph type="body" sz="quarter" idx="1"/>
          </p:nvPr>
        </p:nvSpPr>
        <p:spPr>
          <a:xfrm>
            <a:off x="906357" y="4715161"/>
            <a:ext cx="4984962" cy="4466987"/>
          </a:xfrm>
          <a:prstGeom prst="rect">
            <a:avLst/>
          </a:prstGeom>
        </p:spPr>
        <p:txBody>
          <a:bodyPr lIns="91391" tIns="45698" rIns="91391" bIns="45698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314639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latinLnBrk="0">
      <a:defRPr sz="1200">
        <a:latin typeface="+mn-lt"/>
        <a:ea typeface="+mn-ea"/>
        <a:cs typeface="+mn-cs"/>
        <a:sym typeface="Calibri"/>
      </a:defRPr>
    </a:lvl1pPr>
    <a:lvl2pPr indent="228600" latinLnBrk="0">
      <a:defRPr sz="1200">
        <a:latin typeface="+mn-lt"/>
        <a:ea typeface="+mn-ea"/>
        <a:cs typeface="+mn-cs"/>
        <a:sym typeface="Calibri"/>
      </a:defRPr>
    </a:lvl2pPr>
    <a:lvl3pPr indent="457200" latinLnBrk="0">
      <a:defRPr sz="1200">
        <a:latin typeface="+mn-lt"/>
        <a:ea typeface="+mn-ea"/>
        <a:cs typeface="+mn-cs"/>
        <a:sym typeface="Calibri"/>
      </a:defRPr>
    </a:lvl3pPr>
    <a:lvl4pPr indent="685800" latinLnBrk="0">
      <a:defRPr sz="1200">
        <a:latin typeface="+mn-lt"/>
        <a:ea typeface="+mn-ea"/>
        <a:cs typeface="+mn-cs"/>
        <a:sym typeface="Calibri"/>
      </a:defRPr>
    </a:lvl4pPr>
    <a:lvl5pPr indent="914400" latinLnBrk="0">
      <a:defRPr sz="1200">
        <a:latin typeface="+mn-lt"/>
        <a:ea typeface="+mn-ea"/>
        <a:cs typeface="+mn-cs"/>
        <a:sym typeface="Calibri"/>
      </a:defRPr>
    </a:lvl5pPr>
    <a:lvl6pPr indent="1143000" latinLnBrk="0">
      <a:defRPr sz="1200">
        <a:latin typeface="+mn-lt"/>
        <a:ea typeface="+mn-ea"/>
        <a:cs typeface="+mn-cs"/>
        <a:sym typeface="Calibri"/>
      </a:defRPr>
    </a:lvl6pPr>
    <a:lvl7pPr indent="1371600" latinLnBrk="0">
      <a:defRPr sz="1200">
        <a:latin typeface="+mn-lt"/>
        <a:ea typeface="+mn-ea"/>
        <a:cs typeface="+mn-cs"/>
        <a:sym typeface="Calibri"/>
      </a:defRPr>
    </a:lvl7pPr>
    <a:lvl8pPr indent="1600200" latinLnBrk="0">
      <a:defRPr sz="1200">
        <a:latin typeface="+mn-lt"/>
        <a:ea typeface="+mn-ea"/>
        <a:cs typeface="+mn-cs"/>
        <a:sym typeface="Calibri"/>
      </a:defRPr>
    </a:lvl8pPr>
    <a:lvl9pPr indent="1828800" latinLnBrk="0">
      <a:defRPr sz="1200">
        <a:latin typeface="+mn-lt"/>
        <a:ea typeface="+mn-ea"/>
        <a:cs typeface="+mn-cs"/>
        <a:sym typeface="Calibri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95829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202113" y="127000"/>
            <a:ext cx="2090737" cy="1566863"/>
          </a:xfrm>
        </p:spPr>
      </p:sp>
      <p:sp>
        <p:nvSpPr>
          <p:cNvPr id="58371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spcBef>
                <a:spcPct val="0"/>
              </a:spcBef>
            </a:pPr>
            <a:endParaRPr lang="ru-RU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41924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1.emf"/><Relationship Id="rId2" Type="http://schemas.openxmlformats.org/officeDocument/2006/relationships/tags" Target="../tags/tag2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8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4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3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6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w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9.wmf"/><Relationship Id="rId4" Type="http://schemas.openxmlformats.org/officeDocument/2006/relationships/image" Target="../media/image8.w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0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w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9.wmf"/><Relationship Id="rId4" Type="http://schemas.openxmlformats.org/officeDocument/2006/relationships/image" Target="../media/image8.w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3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wmf"/><Relationship Id="rId3" Type="http://schemas.openxmlformats.org/officeDocument/2006/relationships/tags" Target="../tags/tag48.xml"/><Relationship Id="rId7" Type="http://schemas.openxmlformats.org/officeDocument/2006/relationships/image" Target="../media/image14.jpeg"/><Relationship Id="rId2" Type="http://schemas.openxmlformats.org/officeDocument/2006/relationships/tags" Target="../tags/tag4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6.xml"/><Relationship Id="rId9" Type="http://schemas.openxmlformats.org/officeDocument/2006/relationships/image" Target="../media/image9.wmf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wmf"/><Relationship Id="rId3" Type="http://schemas.openxmlformats.org/officeDocument/2006/relationships/tags" Target="../tags/tag50.xml"/><Relationship Id="rId7" Type="http://schemas.openxmlformats.org/officeDocument/2006/relationships/image" Target="../media/image13.emf"/><Relationship Id="rId2" Type="http://schemas.openxmlformats.org/officeDocument/2006/relationships/tags" Target="../tags/tag49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5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7" Type="http://schemas.openxmlformats.org/officeDocument/2006/relationships/image" Target="../media/image15.emf"/><Relationship Id="rId2" Type="http://schemas.openxmlformats.org/officeDocument/2006/relationships/tags" Target="../tags/tag52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54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7" Type="http://schemas.openxmlformats.org/officeDocument/2006/relationships/image" Target="../media/image13.emf"/><Relationship Id="rId2" Type="http://schemas.openxmlformats.org/officeDocument/2006/relationships/tags" Target="../tags/tag55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57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61.xml"/><Relationship Id="rId7" Type="http://schemas.openxmlformats.org/officeDocument/2006/relationships/image" Target="../media/image13.emf"/><Relationship Id="rId2" Type="http://schemas.openxmlformats.org/officeDocument/2006/relationships/tags" Target="../tags/tag60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62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64.xml"/><Relationship Id="rId7" Type="http://schemas.openxmlformats.org/officeDocument/2006/relationships/image" Target="../media/image13.emf"/><Relationship Id="rId2" Type="http://schemas.openxmlformats.org/officeDocument/2006/relationships/tags" Target="../tags/tag63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65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67.xml"/><Relationship Id="rId7" Type="http://schemas.openxmlformats.org/officeDocument/2006/relationships/image" Target="../media/image13.emf"/><Relationship Id="rId2" Type="http://schemas.openxmlformats.org/officeDocument/2006/relationships/tags" Target="../tags/tag66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4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68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70.xml"/><Relationship Id="rId7" Type="http://schemas.openxmlformats.org/officeDocument/2006/relationships/image" Target="../media/image13.emf"/><Relationship Id="rId2" Type="http://schemas.openxmlformats.org/officeDocument/2006/relationships/tags" Target="../tags/tag69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71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73.xml"/><Relationship Id="rId7" Type="http://schemas.openxmlformats.org/officeDocument/2006/relationships/image" Target="../media/image13.emf"/><Relationship Id="rId2" Type="http://schemas.openxmlformats.org/officeDocument/2006/relationships/tags" Target="../tags/tag72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6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7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7" Type="http://schemas.openxmlformats.org/officeDocument/2006/relationships/image" Target="../media/image17.png"/><Relationship Id="rId2" Type="http://schemas.openxmlformats.org/officeDocument/2006/relationships/tags" Target="../tags/tag75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78.xml"/><Relationship Id="rId7" Type="http://schemas.openxmlformats.org/officeDocument/2006/relationships/image" Target="../media/image13.emf"/><Relationship Id="rId2" Type="http://schemas.openxmlformats.org/officeDocument/2006/relationships/tags" Target="../tags/tag77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28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79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81.xml"/><Relationship Id="rId7" Type="http://schemas.openxmlformats.org/officeDocument/2006/relationships/image" Target="../media/image13.emf"/><Relationship Id="rId2" Type="http://schemas.openxmlformats.org/officeDocument/2006/relationships/tags" Target="../tags/tag80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29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82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84.xml"/><Relationship Id="rId7" Type="http://schemas.openxmlformats.org/officeDocument/2006/relationships/image" Target="../media/image13.emf"/><Relationship Id="rId2" Type="http://schemas.openxmlformats.org/officeDocument/2006/relationships/tags" Target="../tags/tag83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0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85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87.xml"/><Relationship Id="rId7" Type="http://schemas.openxmlformats.org/officeDocument/2006/relationships/image" Target="../media/image13.emf"/><Relationship Id="rId2" Type="http://schemas.openxmlformats.org/officeDocument/2006/relationships/tags" Target="../tags/tag86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1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88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90.xml"/><Relationship Id="rId7" Type="http://schemas.openxmlformats.org/officeDocument/2006/relationships/image" Target="../media/image13.emf"/><Relationship Id="rId2" Type="http://schemas.openxmlformats.org/officeDocument/2006/relationships/tags" Target="../tags/tag89.xml"/><Relationship Id="rId1" Type="http://schemas.openxmlformats.org/officeDocument/2006/relationships/vmlDrawing" Target="../drawings/vmlDrawing32.vml"/><Relationship Id="rId6" Type="http://schemas.openxmlformats.org/officeDocument/2006/relationships/oleObject" Target="../embeddings/oleObject32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91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93.xml"/><Relationship Id="rId7" Type="http://schemas.openxmlformats.org/officeDocument/2006/relationships/image" Target="../media/image13.emf"/><Relationship Id="rId2" Type="http://schemas.openxmlformats.org/officeDocument/2006/relationships/tags" Target="../tags/tag92.xml"/><Relationship Id="rId1" Type="http://schemas.openxmlformats.org/officeDocument/2006/relationships/vmlDrawing" Target="../drawings/vmlDrawing33.vml"/><Relationship Id="rId6" Type="http://schemas.openxmlformats.org/officeDocument/2006/relationships/oleObject" Target="../embeddings/oleObject33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94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96.xml"/><Relationship Id="rId7" Type="http://schemas.openxmlformats.org/officeDocument/2006/relationships/image" Target="../media/image13.emf"/><Relationship Id="rId2" Type="http://schemas.openxmlformats.org/officeDocument/2006/relationships/tags" Target="../tags/tag95.xml"/><Relationship Id="rId1" Type="http://schemas.openxmlformats.org/officeDocument/2006/relationships/vmlDrawing" Target="../drawings/vmlDrawing34.vml"/><Relationship Id="rId6" Type="http://schemas.openxmlformats.org/officeDocument/2006/relationships/oleObject" Target="../embeddings/oleObject34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97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7" Type="http://schemas.openxmlformats.org/officeDocument/2006/relationships/image" Target="../media/image13.emf"/><Relationship Id="rId2" Type="http://schemas.openxmlformats.org/officeDocument/2006/relationships/tags" Target="../tags/tag98.xml"/><Relationship Id="rId1" Type="http://schemas.openxmlformats.org/officeDocument/2006/relationships/vmlDrawing" Target="../drawings/vmlDrawing35.vml"/><Relationship Id="rId6" Type="http://schemas.openxmlformats.org/officeDocument/2006/relationships/oleObject" Target="../embeddings/oleObject35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100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7" Type="http://schemas.openxmlformats.org/officeDocument/2006/relationships/image" Target="../media/image13.emf"/><Relationship Id="rId2" Type="http://schemas.openxmlformats.org/officeDocument/2006/relationships/tags" Target="../tags/tag101.xml"/><Relationship Id="rId1" Type="http://schemas.openxmlformats.org/officeDocument/2006/relationships/vmlDrawing" Target="../drawings/vmlDrawing36.vml"/><Relationship Id="rId6" Type="http://schemas.openxmlformats.org/officeDocument/2006/relationships/oleObject" Target="../embeddings/oleObject36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10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6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37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7" Type="http://schemas.openxmlformats.org/officeDocument/2006/relationships/image" Target="../media/image13.emf"/><Relationship Id="rId2" Type="http://schemas.openxmlformats.org/officeDocument/2006/relationships/tags" Target="../tags/tag105.xml"/><Relationship Id="rId1" Type="http://schemas.openxmlformats.org/officeDocument/2006/relationships/vmlDrawing" Target="../drawings/vmlDrawing38.vml"/><Relationship Id="rId6" Type="http://schemas.openxmlformats.org/officeDocument/2006/relationships/oleObject" Target="../embeddings/oleObject38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10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w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9.wmf"/><Relationship Id="rId4" Type="http://schemas.openxmlformats.org/officeDocument/2006/relationships/image" Target="../media/image8.w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113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22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42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116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wmf"/><Relationship Id="rId3" Type="http://schemas.openxmlformats.org/officeDocument/2006/relationships/tags" Target="../tags/tag118.xml"/><Relationship Id="rId7" Type="http://schemas.openxmlformats.org/officeDocument/2006/relationships/image" Target="../media/image14.jpeg"/><Relationship Id="rId2" Type="http://schemas.openxmlformats.org/officeDocument/2006/relationships/tags" Target="../tags/tag117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6.xml"/><Relationship Id="rId9" Type="http://schemas.openxmlformats.org/officeDocument/2006/relationships/image" Target="../media/image9.w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120.xml"/><Relationship Id="rId7" Type="http://schemas.openxmlformats.org/officeDocument/2006/relationships/image" Target="../media/image13.emf"/><Relationship Id="rId2" Type="http://schemas.openxmlformats.org/officeDocument/2006/relationships/tags" Target="../tags/tag119.xml"/><Relationship Id="rId1" Type="http://schemas.openxmlformats.org/officeDocument/2006/relationships/vmlDrawing" Target="../drawings/vmlDrawing45.vml"/><Relationship Id="rId6" Type="http://schemas.openxmlformats.org/officeDocument/2006/relationships/oleObject" Target="../embeddings/oleObject45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12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7" Type="http://schemas.openxmlformats.org/officeDocument/2006/relationships/image" Target="../media/image13.emf"/><Relationship Id="rId2" Type="http://schemas.openxmlformats.org/officeDocument/2006/relationships/tags" Target="../tags/tag122.xml"/><Relationship Id="rId1" Type="http://schemas.openxmlformats.org/officeDocument/2006/relationships/vmlDrawing" Target="../drawings/vmlDrawing46.vml"/><Relationship Id="rId6" Type="http://schemas.openxmlformats.org/officeDocument/2006/relationships/oleObject" Target="../embeddings/oleObject46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12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126.xml"/><Relationship Id="rId7" Type="http://schemas.openxmlformats.org/officeDocument/2006/relationships/image" Target="../media/image13.emf"/><Relationship Id="rId2" Type="http://schemas.openxmlformats.org/officeDocument/2006/relationships/tags" Target="../tags/tag125.xml"/><Relationship Id="rId1" Type="http://schemas.openxmlformats.org/officeDocument/2006/relationships/vmlDrawing" Target="../drawings/vmlDrawing47.vml"/><Relationship Id="rId6" Type="http://schemas.openxmlformats.org/officeDocument/2006/relationships/oleObject" Target="../embeddings/oleObject47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127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129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131.xml"/><Relationship Id="rId7" Type="http://schemas.openxmlformats.org/officeDocument/2006/relationships/image" Target="../media/image13.emf"/><Relationship Id="rId2" Type="http://schemas.openxmlformats.org/officeDocument/2006/relationships/tags" Target="../tags/tag130.xml"/><Relationship Id="rId1" Type="http://schemas.openxmlformats.org/officeDocument/2006/relationships/vmlDrawing" Target="../drawings/vmlDrawing49.vml"/><Relationship Id="rId6" Type="http://schemas.openxmlformats.org/officeDocument/2006/relationships/oleObject" Target="../embeddings/oleObject49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132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134.xml"/><Relationship Id="rId7" Type="http://schemas.openxmlformats.org/officeDocument/2006/relationships/image" Target="../media/image13.emf"/><Relationship Id="rId2" Type="http://schemas.openxmlformats.org/officeDocument/2006/relationships/tags" Target="../tags/tag133.xml"/><Relationship Id="rId1" Type="http://schemas.openxmlformats.org/officeDocument/2006/relationships/vmlDrawing" Target="../drawings/vmlDrawing50.vml"/><Relationship Id="rId6" Type="http://schemas.openxmlformats.org/officeDocument/2006/relationships/oleObject" Target="../embeddings/oleObject50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135.xml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137.xml"/><Relationship Id="rId7" Type="http://schemas.openxmlformats.org/officeDocument/2006/relationships/image" Target="../media/image13.emf"/><Relationship Id="rId2" Type="http://schemas.openxmlformats.org/officeDocument/2006/relationships/tags" Target="../tags/tag136.xml"/><Relationship Id="rId1" Type="http://schemas.openxmlformats.org/officeDocument/2006/relationships/vmlDrawing" Target="../drawings/vmlDrawing51.vml"/><Relationship Id="rId6" Type="http://schemas.openxmlformats.org/officeDocument/2006/relationships/oleObject" Target="../embeddings/oleObject51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138.xml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140.xml"/><Relationship Id="rId7" Type="http://schemas.openxmlformats.org/officeDocument/2006/relationships/image" Target="../media/image13.emf"/><Relationship Id="rId2" Type="http://schemas.openxmlformats.org/officeDocument/2006/relationships/tags" Target="../tags/tag139.xml"/><Relationship Id="rId1" Type="http://schemas.openxmlformats.org/officeDocument/2006/relationships/vmlDrawing" Target="../drawings/vmlDrawing52.vml"/><Relationship Id="rId6" Type="http://schemas.openxmlformats.org/officeDocument/2006/relationships/oleObject" Target="../embeddings/oleObject52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141.xml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143.xml"/><Relationship Id="rId7" Type="http://schemas.openxmlformats.org/officeDocument/2006/relationships/image" Target="../media/image13.emf"/><Relationship Id="rId2" Type="http://schemas.openxmlformats.org/officeDocument/2006/relationships/tags" Target="../tags/tag142.xml"/><Relationship Id="rId1" Type="http://schemas.openxmlformats.org/officeDocument/2006/relationships/vmlDrawing" Target="../drawings/vmlDrawing53.vml"/><Relationship Id="rId6" Type="http://schemas.openxmlformats.org/officeDocument/2006/relationships/oleObject" Target="../embeddings/oleObject53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144.xml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146.xml"/><Relationship Id="rId7" Type="http://schemas.openxmlformats.org/officeDocument/2006/relationships/image" Target="../media/image13.emf"/><Relationship Id="rId2" Type="http://schemas.openxmlformats.org/officeDocument/2006/relationships/tags" Target="../tags/tag145.xml"/><Relationship Id="rId1" Type="http://schemas.openxmlformats.org/officeDocument/2006/relationships/vmlDrawing" Target="../drawings/vmlDrawing54.vml"/><Relationship Id="rId6" Type="http://schemas.openxmlformats.org/officeDocument/2006/relationships/oleObject" Target="../embeddings/oleObject54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147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149.xml"/><Relationship Id="rId7" Type="http://schemas.openxmlformats.org/officeDocument/2006/relationships/image" Target="../media/image17.png"/><Relationship Id="rId2" Type="http://schemas.openxmlformats.org/officeDocument/2006/relationships/tags" Target="../tags/tag148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151.xml"/><Relationship Id="rId7" Type="http://schemas.openxmlformats.org/officeDocument/2006/relationships/image" Target="../media/image13.emf"/><Relationship Id="rId2" Type="http://schemas.openxmlformats.org/officeDocument/2006/relationships/tags" Target="../tags/tag150.xml"/><Relationship Id="rId1" Type="http://schemas.openxmlformats.org/officeDocument/2006/relationships/vmlDrawing" Target="../drawings/vmlDrawing56.vml"/><Relationship Id="rId6" Type="http://schemas.openxmlformats.org/officeDocument/2006/relationships/oleObject" Target="../embeddings/oleObject56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152.xml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154.xml"/><Relationship Id="rId7" Type="http://schemas.openxmlformats.org/officeDocument/2006/relationships/image" Target="../media/image13.emf"/><Relationship Id="rId2" Type="http://schemas.openxmlformats.org/officeDocument/2006/relationships/tags" Target="../tags/tag153.xml"/><Relationship Id="rId1" Type="http://schemas.openxmlformats.org/officeDocument/2006/relationships/vmlDrawing" Target="../drawings/vmlDrawing57.vml"/><Relationship Id="rId6" Type="http://schemas.openxmlformats.org/officeDocument/2006/relationships/oleObject" Target="../embeddings/oleObject57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155.xml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157.xml"/><Relationship Id="rId7" Type="http://schemas.openxmlformats.org/officeDocument/2006/relationships/image" Target="../media/image13.emf"/><Relationship Id="rId2" Type="http://schemas.openxmlformats.org/officeDocument/2006/relationships/tags" Target="../tags/tag156.xml"/><Relationship Id="rId1" Type="http://schemas.openxmlformats.org/officeDocument/2006/relationships/vmlDrawing" Target="../drawings/vmlDrawing58.vml"/><Relationship Id="rId6" Type="http://schemas.openxmlformats.org/officeDocument/2006/relationships/oleObject" Target="../embeddings/oleObject58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15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160.xml"/><Relationship Id="rId7" Type="http://schemas.openxmlformats.org/officeDocument/2006/relationships/image" Target="../media/image13.emf"/><Relationship Id="rId2" Type="http://schemas.openxmlformats.org/officeDocument/2006/relationships/tags" Target="../tags/tag159.xml"/><Relationship Id="rId1" Type="http://schemas.openxmlformats.org/officeDocument/2006/relationships/vmlDrawing" Target="../drawings/vmlDrawing59.vml"/><Relationship Id="rId6" Type="http://schemas.openxmlformats.org/officeDocument/2006/relationships/oleObject" Target="../embeddings/oleObject59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161.xml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163.xml"/><Relationship Id="rId7" Type="http://schemas.openxmlformats.org/officeDocument/2006/relationships/image" Target="../media/image13.emf"/><Relationship Id="rId2" Type="http://schemas.openxmlformats.org/officeDocument/2006/relationships/tags" Target="../tags/tag162.xml"/><Relationship Id="rId1" Type="http://schemas.openxmlformats.org/officeDocument/2006/relationships/vmlDrawing" Target="../drawings/vmlDrawing60.vml"/><Relationship Id="rId6" Type="http://schemas.openxmlformats.org/officeDocument/2006/relationships/oleObject" Target="../embeddings/oleObject60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164.xml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166.xml"/><Relationship Id="rId7" Type="http://schemas.openxmlformats.org/officeDocument/2006/relationships/image" Target="../media/image13.emf"/><Relationship Id="rId2" Type="http://schemas.openxmlformats.org/officeDocument/2006/relationships/tags" Target="../tags/tag165.xml"/><Relationship Id="rId1" Type="http://schemas.openxmlformats.org/officeDocument/2006/relationships/vmlDrawing" Target="../drawings/vmlDrawing61.vml"/><Relationship Id="rId6" Type="http://schemas.openxmlformats.org/officeDocument/2006/relationships/oleObject" Target="../embeddings/oleObject61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167.xml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169.xml"/><Relationship Id="rId7" Type="http://schemas.openxmlformats.org/officeDocument/2006/relationships/image" Target="../media/image13.emf"/><Relationship Id="rId2" Type="http://schemas.openxmlformats.org/officeDocument/2006/relationships/tags" Target="../tags/tag168.xml"/><Relationship Id="rId1" Type="http://schemas.openxmlformats.org/officeDocument/2006/relationships/vmlDrawing" Target="../drawings/vmlDrawing62.vml"/><Relationship Id="rId6" Type="http://schemas.openxmlformats.org/officeDocument/2006/relationships/oleObject" Target="../embeddings/oleObject62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170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172.xml"/><Relationship Id="rId7" Type="http://schemas.openxmlformats.org/officeDocument/2006/relationships/image" Target="../media/image13.emf"/><Relationship Id="rId2" Type="http://schemas.openxmlformats.org/officeDocument/2006/relationships/tags" Target="../tags/tag171.xml"/><Relationship Id="rId1" Type="http://schemas.openxmlformats.org/officeDocument/2006/relationships/vmlDrawing" Target="../drawings/vmlDrawing63.vml"/><Relationship Id="rId6" Type="http://schemas.openxmlformats.org/officeDocument/2006/relationships/oleObject" Target="../embeddings/oleObject63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173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175.xml"/><Relationship Id="rId7" Type="http://schemas.openxmlformats.org/officeDocument/2006/relationships/image" Target="../media/image13.emf"/><Relationship Id="rId2" Type="http://schemas.openxmlformats.org/officeDocument/2006/relationships/tags" Target="../tags/tag174.xml"/><Relationship Id="rId1" Type="http://schemas.openxmlformats.org/officeDocument/2006/relationships/vmlDrawing" Target="../drawings/vmlDrawing64.vml"/><Relationship Id="rId6" Type="http://schemas.openxmlformats.org/officeDocument/2006/relationships/oleObject" Target="../embeddings/oleObject64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176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77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16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65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179.xml"/><Relationship Id="rId7" Type="http://schemas.openxmlformats.org/officeDocument/2006/relationships/image" Target="../media/image13.emf"/><Relationship Id="rId2" Type="http://schemas.openxmlformats.org/officeDocument/2006/relationships/tags" Target="../tags/tag178.xml"/><Relationship Id="rId1" Type="http://schemas.openxmlformats.org/officeDocument/2006/relationships/vmlDrawing" Target="../drawings/vmlDrawing66.vml"/><Relationship Id="rId6" Type="http://schemas.openxmlformats.org/officeDocument/2006/relationships/oleObject" Target="../embeddings/oleObject66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180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7" Type="http://schemas.openxmlformats.org/officeDocument/2006/relationships/image" Target="../media/image17.png"/><Relationship Id="rId2" Type="http://schemas.openxmlformats.org/officeDocument/2006/relationships/tags" Target="../tags/tag181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67.bin"/><Relationship Id="rId4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tags" Target="../tags/tag184.xml"/><Relationship Id="rId2" Type="http://schemas.openxmlformats.org/officeDocument/2006/relationships/tags" Target="../tags/tag183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68.bin"/><Relationship Id="rId4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2" Type="http://schemas.openxmlformats.org/officeDocument/2006/relationships/tags" Target="../tags/tag185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69.bin"/><Relationship Id="rId4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tags" Target="../tags/tag188.xml"/><Relationship Id="rId2" Type="http://schemas.openxmlformats.org/officeDocument/2006/relationships/tags" Target="../tags/tag187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70.bin"/><Relationship Id="rId4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89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22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71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2" Type="http://schemas.openxmlformats.org/officeDocument/2006/relationships/tags" Target="../tags/tag190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72.bin"/><Relationship Id="rId4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92.xml"/><Relationship Id="rId1" Type="http://schemas.openxmlformats.org/officeDocument/2006/relationships/vmlDrawing" Target="../drawings/vmlDrawing73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73.bin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194.xml"/><Relationship Id="rId7" Type="http://schemas.openxmlformats.org/officeDocument/2006/relationships/image" Target="../media/image23.emf"/><Relationship Id="rId2" Type="http://schemas.openxmlformats.org/officeDocument/2006/relationships/tags" Target="../tags/tag193.xml"/><Relationship Id="rId1" Type="http://schemas.openxmlformats.org/officeDocument/2006/relationships/vmlDrawing" Target="../drawings/vmlDrawing74.vml"/><Relationship Id="rId6" Type="http://schemas.openxmlformats.org/officeDocument/2006/relationships/oleObject" Target="../embeddings/oleObject74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195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tags" Target="../tags/tag197.xml"/><Relationship Id="rId2" Type="http://schemas.openxmlformats.org/officeDocument/2006/relationships/tags" Target="../tags/tag196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75.bin"/><Relationship Id="rId4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tags" Target="../tags/tag199.xml"/><Relationship Id="rId2" Type="http://schemas.openxmlformats.org/officeDocument/2006/relationships/tags" Target="../tags/tag198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76.bin"/><Relationship Id="rId4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. 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1269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200" b="0" i="0" baseline="0" dirty="0">
              <a:latin typeface="Tahoma" panose="020B0604030504040204" pitchFamily="34" charset="0"/>
              <a:ea typeface="+mj-ea"/>
              <a:cs typeface="+mj-cs"/>
              <a:sym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2396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3050" y="4407606"/>
            <a:ext cx="7771533" cy="1360921"/>
          </a:xfrm>
        </p:spPr>
        <p:txBody>
          <a:bodyPr anchor="t"/>
          <a:lstStyle>
            <a:lvl1pPr algn="l">
              <a:defRPr sz="3673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3050" y="2906568"/>
            <a:ext cx="7771533" cy="1500909"/>
          </a:xfrm>
        </p:spPr>
        <p:txBody>
          <a:bodyPr anchor="b"/>
          <a:lstStyle>
            <a:lvl1pPr marL="0" indent="0">
              <a:buNone/>
              <a:defRPr sz="1837"/>
            </a:lvl1pPr>
            <a:lvl2pPr marL="410099" indent="0">
              <a:buNone/>
              <a:defRPr sz="1632"/>
            </a:lvl2pPr>
            <a:lvl3pPr marL="820176" indent="0">
              <a:buNone/>
              <a:defRPr sz="1530"/>
            </a:lvl3pPr>
            <a:lvl4pPr marL="1230255" indent="0">
              <a:buNone/>
              <a:defRPr sz="1224"/>
            </a:lvl4pPr>
            <a:lvl5pPr marL="1640340" indent="0">
              <a:buNone/>
              <a:defRPr sz="1224"/>
            </a:lvl5pPr>
            <a:lvl6pPr marL="2050424" indent="0">
              <a:buNone/>
              <a:defRPr sz="1224"/>
            </a:lvl6pPr>
            <a:lvl7pPr marL="2460500" indent="0">
              <a:buNone/>
              <a:defRPr sz="1224"/>
            </a:lvl7pPr>
            <a:lvl8pPr marL="2870587" indent="0">
              <a:buNone/>
              <a:defRPr sz="1224"/>
            </a:lvl8pPr>
            <a:lvl9pPr marL="3280674" indent="0">
              <a:buNone/>
              <a:defRPr sz="1224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PAGE NUMBER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zh-TW" dirty="0">
                <a:solidFill>
                  <a:srgbClr val="14446C"/>
                </a:solidFill>
              </a:rPr>
              <a:t> </a:t>
            </a:r>
            <a:fld id="{6E012AFA-0B43-47C3-B5AA-49C304B458F1}" type="slidenum">
              <a:rPr lang="en-GB" altLang="zh-TW">
                <a:solidFill>
                  <a:srgbClr val="14446C"/>
                </a:solidFill>
              </a:rPr>
              <a:pPr>
                <a:defRPr/>
              </a:pPr>
              <a:t>‹#›</a:t>
            </a:fld>
            <a:endParaRPr lang="en-GB" altLang="zh-TW" dirty="0">
              <a:solidFill>
                <a:srgbClr val="14446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46551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311739" y="1628036"/>
            <a:ext cx="4188114" cy="4292023"/>
          </a:xfrm>
        </p:spPr>
        <p:txBody>
          <a:bodyPr/>
          <a:lstStyle>
            <a:lvl1pPr>
              <a:defRPr sz="2551"/>
            </a:lvl1pPr>
            <a:lvl2pPr>
              <a:defRPr sz="2143"/>
            </a:lvl2pPr>
            <a:lvl3pPr>
              <a:defRPr sz="1837"/>
            </a:lvl3pPr>
            <a:lvl4pPr>
              <a:defRPr sz="1632"/>
            </a:lvl4pPr>
            <a:lvl5pPr>
              <a:defRPr sz="1632"/>
            </a:lvl5pPr>
            <a:lvl6pPr>
              <a:defRPr sz="1632"/>
            </a:lvl6pPr>
            <a:lvl7pPr>
              <a:defRPr sz="1632"/>
            </a:lvl7pPr>
            <a:lvl8pPr>
              <a:defRPr sz="1632"/>
            </a:lvl8pPr>
            <a:lvl9pPr>
              <a:defRPr sz="163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38411" y="1628036"/>
            <a:ext cx="4189557" cy="4292023"/>
          </a:xfrm>
        </p:spPr>
        <p:txBody>
          <a:bodyPr/>
          <a:lstStyle>
            <a:lvl1pPr>
              <a:defRPr sz="2551"/>
            </a:lvl1pPr>
            <a:lvl2pPr>
              <a:defRPr sz="2143"/>
            </a:lvl2pPr>
            <a:lvl3pPr>
              <a:defRPr sz="1837"/>
            </a:lvl3pPr>
            <a:lvl4pPr>
              <a:defRPr sz="1632"/>
            </a:lvl4pPr>
            <a:lvl5pPr>
              <a:defRPr sz="1632"/>
            </a:lvl5pPr>
            <a:lvl6pPr>
              <a:defRPr sz="1632"/>
            </a:lvl6pPr>
            <a:lvl7pPr>
              <a:defRPr sz="1632"/>
            </a:lvl7pPr>
            <a:lvl8pPr>
              <a:defRPr sz="1632"/>
            </a:lvl8pPr>
            <a:lvl9pPr>
              <a:defRPr sz="163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PAGE NUMBER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zh-TW" dirty="0">
                <a:solidFill>
                  <a:srgbClr val="14446C"/>
                </a:solidFill>
              </a:rPr>
              <a:t> </a:t>
            </a:r>
            <a:fld id="{91BEF7E6-0BDD-4C0D-B410-762D8B98C0BA}" type="slidenum">
              <a:rPr lang="en-GB" altLang="zh-TW">
                <a:solidFill>
                  <a:srgbClr val="14446C"/>
                </a:solidFill>
              </a:rPr>
              <a:pPr>
                <a:defRPr/>
              </a:pPr>
              <a:t>‹#›</a:t>
            </a:fld>
            <a:endParaRPr lang="en-GB" altLang="zh-TW" dirty="0">
              <a:solidFill>
                <a:srgbClr val="14446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84284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519" y="274206"/>
            <a:ext cx="8229022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494" y="1535561"/>
            <a:ext cx="4039466" cy="639330"/>
          </a:xfrm>
        </p:spPr>
        <p:txBody>
          <a:bodyPr anchor="b"/>
          <a:lstStyle>
            <a:lvl1pPr marL="0" indent="0">
              <a:buNone/>
              <a:defRPr sz="2143" b="1"/>
            </a:lvl1pPr>
            <a:lvl2pPr marL="410099" indent="0">
              <a:buNone/>
              <a:defRPr sz="1837" b="1"/>
            </a:lvl2pPr>
            <a:lvl3pPr marL="820176" indent="0">
              <a:buNone/>
              <a:defRPr sz="1632" b="1"/>
            </a:lvl3pPr>
            <a:lvl4pPr marL="1230255" indent="0">
              <a:buNone/>
              <a:defRPr sz="1530" b="1"/>
            </a:lvl4pPr>
            <a:lvl5pPr marL="1640340" indent="0">
              <a:buNone/>
              <a:defRPr sz="1530" b="1"/>
            </a:lvl5pPr>
            <a:lvl6pPr marL="2050424" indent="0">
              <a:buNone/>
              <a:defRPr sz="1530" b="1"/>
            </a:lvl6pPr>
            <a:lvl7pPr marL="2460500" indent="0">
              <a:buNone/>
              <a:defRPr sz="1530" b="1"/>
            </a:lvl7pPr>
            <a:lvl8pPr marL="2870587" indent="0">
              <a:buNone/>
              <a:defRPr sz="1530" b="1"/>
            </a:lvl8pPr>
            <a:lvl9pPr marL="3280674" indent="0">
              <a:buNone/>
              <a:defRPr sz="153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494" y="2174890"/>
            <a:ext cx="4039466" cy="3951432"/>
          </a:xfrm>
        </p:spPr>
        <p:txBody>
          <a:bodyPr/>
          <a:lstStyle>
            <a:lvl1pPr>
              <a:defRPr sz="2143"/>
            </a:lvl1pPr>
            <a:lvl2pPr>
              <a:defRPr sz="1837"/>
            </a:lvl2pPr>
            <a:lvl3pPr>
              <a:defRPr sz="1632"/>
            </a:lvl3pPr>
            <a:lvl4pPr>
              <a:defRPr sz="1530"/>
            </a:lvl4pPr>
            <a:lvl5pPr>
              <a:defRPr sz="1530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615" y="1535561"/>
            <a:ext cx="4040909" cy="639330"/>
          </a:xfrm>
        </p:spPr>
        <p:txBody>
          <a:bodyPr anchor="b"/>
          <a:lstStyle>
            <a:lvl1pPr marL="0" indent="0">
              <a:buNone/>
              <a:defRPr sz="2143" b="1"/>
            </a:lvl1pPr>
            <a:lvl2pPr marL="410099" indent="0">
              <a:buNone/>
              <a:defRPr sz="1837" b="1"/>
            </a:lvl2pPr>
            <a:lvl3pPr marL="820176" indent="0">
              <a:buNone/>
              <a:defRPr sz="1632" b="1"/>
            </a:lvl3pPr>
            <a:lvl4pPr marL="1230255" indent="0">
              <a:buNone/>
              <a:defRPr sz="1530" b="1"/>
            </a:lvl4pPr>
            <a:lvl5pPr marL="1640340" indent="0">
              <a:buNone/>
              <a:defRPr sz="1530" b="1"/>
            </a:lvl5pPr>
            <a:lvl6pPr marL="2050424" indent="0">
              <a:buNone/>
              <a:defRPr sz="1530" b="1"/>
            </a:lvl6pPr>
            <a:lvl7pPr marL="2460500" indent="0">
              <a:buNone/>
              <a:defRPr sz="1530" b="1"/>
            </a:lvl7pPr>
            <a:lvl8pPr marL="2870587" indent="0">
              <a:buNone/>
              <a:defRPr sz="1530" b="1"/>
            </a:lvl8pPr>
            <a:lvl9pPr marL="3280674" indent="0">
              <a:buNone/>
              <a:defRPr sz="153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615" y="2174890"/>
            <a:ext cx="4040909" cy="3951432"/>
          </a:xfrm>
        </p:spPr>
        <p:txBody>
          <a:bodyPr/>
          <a:lstStyle>
            <a:lvl1pPr>
              <a:defRPr sz="2143"/>
            </a:lvl1pPr>
            <a:lvl2pPr>
              <a:defRPr sz="1837"/>
            </a:lvl2pPr>
            <a:lvl3pPr>
              <a:defRPr sz="1632"/>
            </a:lvl3pPr>
            <a:lvl4pPr>
              <a:defRPr sz="1530"/>
            </a:lvl4pPr>
            <a:lvl5pPr>
              <a:defRPr sz="1530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PAGE NUMBER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zh-TW" dirty="0">
                <a:solidFill>
                  <a:srgbClr val="14446C"/>
                </a:solidFill>
              </a:rPr>
              <a:t> </a:t>
            </a:r>
            <a:fld id="{FA8D7ED6-27B0-445F-A76F-781999F307AA}" type="slidenum">
              <a:rPr lang="en-GB" altLang="zh-TW">
                <a:solidFill>
                  <a:srgbClr val="14446C"/>
                </a:solidFill>
              </a:rPr>
              <a:pPr>
                <a:defRPr/>
              </a:pPr>
              <a:t>‹#›</a:t>
            </a:fld>
            <a:endParaRPr lang="en-GB" altLang="zh-TW" dirty="0">
              <a:solidFill>
                <a:srgbClr val="14446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73935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0978571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0299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rgbClr val="96969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1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551" b="1" i="0" u="none" strike="noStrike" cap="none" normalizeH="0" baseline="0" dirty="0" smtClean="0">
              <a:ln>
                <a:noFill/>
              </a:ln>
              <a:solidFill>
                <a:srgbClr val="164463"/>
              </a:solidFill>
              <a:effectLst/>
              <a:latin typeface="Arial" panose="020B0604020202020204" pitchFamily="34" charset="0"/>
              <a:ea typeface="Batang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PAGE NUMBER"/>
          <p:cNvSpPr>
            <a:spLocks noGrp="1" noChangeArrowheads="1"/>
          </p:cNvSpPr>
          <p:nvPr>
            <p:ph type="sldNum" sz="quarter" idx="10"/>
            <p:custDataLst>
              <p:tags r:id="rId4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zh-TW" dirty="0">
                <a:solidFill>
                  <a:srgbClr val="14446C"/>
                </a:solidFill>
              </a:rPr>
              <a:t> </a:t>
            </a:r>
            <a:fld id="{D0211ACD-E85F-4FE9-9136-6FDE8B30F00A}" type="slidenum">
              <a:rPr lang="en-GB" altLang="zh-TW">
                <a:solidFill>
                  <a:srgbClr val="14446C"/>
                </a:solidFill>
              </a:rPr>
              <a:pPr>
                <a:defRPr/>
              </a:pPr>
              <a:t>‹#›</a:t>
            </a:fld>
            <a:endParaRPr lang="en-GB" altLang="zh-TW" dirty="0">
              <a:solidFill>
                <a:srgbClr val="14446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36287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6534071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1323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AGE NUMBER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GB" altLang="zh-TW" dirty="0" smtClean="0">
                <a:solidFill>
                  <a:srgbClr val="14446C"/>
                </a:solidFill>
              </a:rPr>
              <a:t> </a:t>
            </a:r>
            <a:fld id="{904B1625-0857-4483-9D73-B087C4DDBFC2}" type="slidenum">
              <a:rPr lang="en-GB" altLang="zh-TW" smtClean="0">
                <a:solidFill>
                  <a:srgbClr val="14446C"/>
                </a:solidFill>
              </a:rPr>
              <a:pPr/>
              <a:t>‹#›</a:t>
            </a:fld>
            <a:endParaRPr lang="en-GB" altLang="zh-TW" dirty="0">
              <a:solidFill>
                <a:srgbClr val="14446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85608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494" y="272810"/>
            <a:ext cx="3007591" cy="1161761"/>
          </a:xfrm>
        </p:spPr>
        <p:txBody>
          <a:bodyPr/>
          <a:lstStyle>
            <a:lvl1pPr algn="l">
              <a:defRPr sz="1837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4773" y="272779"/>
            <a:ext cx="5111750" cy="5853546"/>
          </a:xfrm>
        </p:spPr>
        <p:txBody>
          <a:bodyPr/>
          <a:lstStyle>
            <a:lvl1pPr>
              <a:defRPr sz="2959"/>
            </a:lvl1pPr>
            <a:lvl2pPr>
              <a:defRPr sz="2551"/>
            </a:lvl2pPr>
            <a:lvl3pPr>
              <a:defRPr sz="2143"/>
            </a:lvl3pPr>
            <a:lvl4pPr>
              <a:defRPr sz="1837"/>
            </a:lvl4pPr>
            <a:lvl5pPr>
              <a:defRPr sz="1837"/>
            </a:lvl5pPr>
            <a:lvl6pPr>
              <a:defRPr sz="1837"/>
            </a:lvl6pPr>
            <a:lvl7pPr>
              <a:defRPr sz="1837"/>
            </a:lvl7pPr>
            <a:lvl8pPr>
              <a:defRPr sz="1837"/>
            </a:lvl8pPr>
            <a:lvl9pPr>
              <a:defRPr sz="1837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494" y="1434533"/>
            <a:ext cx="3007591" cy="4691785"/>
          </a:xfrm>
        </p:spPr>
        <p:txBody>
          <a:bodyPr/>
          <a:lstStyle>
            <a:lvl1pPr marL="0" indent="0">
              <a:buNone/>
              <a:defRPr sz="1224"/>
            </a:lvl1pPr>
            <a:lvl2pPr marL="410099" indent="0">
              <a:buNone/>
              <a:defRPr sz="1122"/>
            </a:lvl2pPr>
            <a:lvl3pPr marL="820176" indent="0">
              <a:buNone/>
              <a:defRPr sz="918"/>
            </a:lvl3pPr>
            <a:lvl4pPr marL="1230255" indent="0">
              <a:buNone/>
              <a:defRPr sz="816"/>
            </a:lvl4pPr>
            <a:lvl5pPr marL="1640340" indent="0">
              <a:buNone/>
              <a:defRPr sz="816"/>
            </a:lvl5pPr>
            <a:lvl6pPr marL="2050424" indent="0">
              <a:buNone/>
              <a:defRPr sz="816"/>
            </a:lvl6pPr>
            <a:lvl7pPr marL="2460500" indent="0">
              <a:buNone/>
              <a:defRPr sz="816"/>
            </a:lvl7pPr>
            <a:lvl8pPr marL="2870587" indent="0">
              <a:buNone/>
              <a:defRPr sz="816"/>
            </a:lvl8pPr>
            <a:lvl9pPr marL="3280674" indent="0">
              <a:buNone/>
              <a:defRPr sz="816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AGE NUMBER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zh-TW" dirty="0">
                <a:solidFill>
                  <a:srgbClr val="14446C"/>
                </a:solidFill>
              </a:rPr>
              <a:t> </a:t>
            </a:r>
            <a:fld id="{4D4AACC0-A465-40B4-9BA3-ED287D771FF6}" type="slidenum">
              <a:rPr lang="en-GB" altLang="zh-TW">
                <a:solidFill>
                  <a:srgbClr val="14446C"/>
                </a:solidFill>
              </a:rPr>
              <a:pPr>
                <a:defRPr/>
              </a:pPr>
              <a:t>‹#›</a:t>
            </a:fld>
            <a:endParaRPr lang="en-GB" altLang="zh-TW" dirty="0">
              <a:solidFill>
                <a:srgbClr val="14446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41905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461" y="4800025"/>
            <a:ext cx="5486978" cy="567171"/>
          </a:xfrm>
        </p:spPr>
        <p:txBody>
          <a:bodyPr/>
          <a:lstStyle>
            <a:lvl1pPr algn="l">
              <a:defRPr sz="1837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461" y="613355"/>
            <a:ext cx="5486978" cy="4114511"/>
          </a:xfrm>
        </p:spPr>
        <p:txBody>
          <a:bodyPr/>
          <a:lstStyle>
            <a:lvl1pPr marL="0" indent="0">
              <a:buNone/>
              <a:defRPr sz="2959"/>
            </a:lvl1pPr>
            <a:lvl2pPr marL="410099" indent="0">
              <a:buNone/>
              <a:defRPr sz="2551"/>
            </a:lvl2pPr>
            <a:lvl3pPr marL="820176" indent="0">
              <a:buNone/>
              <a:defRPr sz="2143"/>
            </a:lvl3pPr>
            <a:lvl4pPr marL="1230255" indent="0">
              <a:buNone/>
              <a:defRPr sz="1837"/>
            </a:lvl4pPr>
            <a:lvl5pPr marL="1640340" indent="0">
              <a:buNone/>
              <a:defRPr sz="1837"/>
            </a:lvl5pPr>
            <a:lvl6pPr marL="2050424" indent="0">
              <a:buNone/>
              <a:defRPr sz="1837"/>
            </a:lvl6pPr>
            <a:lvl7pPr marL="2460500" indent="0">
              <a:buNone/>
              <a:defRPr sz="1837"/>
            </a:lvl7pPr>
            <a:lvl8pPr marL="2870587" indent="0">
              <a:buNone/>
              <a:defRPr sz="1837"/>
            </a:lvl8pPr>
            <a:lvl9pPr marL="3280674" indent="0">
              <a:buNone/>
              <a:defRPr sz="1837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461" y="5367322"/>
            <a:ext cx="5486978" cy="805295"/>
          </a:xfrm>
        </p:spPr>
        <p:txBody>
          <a:bodyPr/>
          <a:lstStyle>
            <a:lvl1pPr marL="0" indent="0">
              <a:buNone/>
              <a:defRPr sz="1224"/>
            </a:lvl1pPr>
            <a:lvl2pPr marL="410099" indent="0">
              <a:buNone/>
              <a:defRPr sz="1122"/>
            </a:lvl2pPr>
            <a:lvl3pPr marL="820176" indent="0">
              <a:buNone/>
              <a:defRPr sz="918"/>
            </a:lvl3pPr>
            <a:lvl4pPr marL="1230255" indent="0">
              <a:buNone/>
              <a:defRPr sz="816"/>
            </a:lvl4pPr>
            <a:lvl5pPr marL="1640340" indent="0">
              <a:buNone/>
              <a:defRPr sz="816"/>
            </a:lvl5pPr>
            <a:lvl6pPr marL="2050424" indent="0">
              <a:buNone/>
              <a:defRPr sz="816"/>
            </a:lvl6pPr>
            <a:lvl7pPr marL="2460500" indent="0">
              <a:buNone/>
              <a:defRPr sz="816"/>
            </a:lvl7pPr>
            <a:lvl8pPr marL="2870587" indent="0">
              <a:buNone/>
              <a:defRPr sz="816"/>
            </a:lvl8pPr>
            <a:lvl9pPr marL="3280674" indent="0">
              <a:buNone/>
              <a:defRPr sz="816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AGE NUMBER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zh-TW" dirty="0">
                <a:solidFill>
                  <a:srgbClr val="14446C"/>
                </a:solidFill>
              </a:rPr>
              <a:t> </a:t>
            </a:r>
            <a:fld id="{A7F88BB4-0E31-46C4-A739-797C6FCAFCBF}" type="slidenum">
              <a:rPr lang="en-GB" altLang="zh-TW">
                <a:solidFill>
                  <a:srgbClr val="14446C"/>
                </a:solidFill>
              </a:rPr>
              <a:pPr>
                <a:defRPr/>
              </a:pPr>
              <a:t>‹#›</a:t>
            </a:fld>
            <a:endParaRPr lang="en-GB" altLang="zh-TW" dirty="0">
              <a:solidFill>
                <a:srgbClr val="14446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77967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AGE NUMBER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zh-TW" dirty="0">
                <a:solidFill>
                  <a:srgbClr val="14446C"/>
                </a:solidFill>
              </a:rPr>
              <a:t> </a:t>
            </a:r>
            <a:fld id="{0F3C70DD-8316-458B-8B85-F552AD058436}" type="slidenum">
              <a:rPr lang="en-GB" altLang="zh-TW">
                <a:solidFill>
                  <a:srgbClr val="14446C"/>
                </a:solidFill>
              </a:rPr>
              <a:pPr>
                <a:defRPr/>
              </a:pPr>
              <a:t>‹#›</a:t>
            </a:fld>
            <a:endParaRPr lang="en-GB" altLang="zh-TW" dirty="0">
              <a:solidFill>
                <a:srgbClr val="14446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88470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99251" y="161688"/>
            <a:ext cx="2128694" cy="5758296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11752" y="161688"/>
            <a:ext cx="6248977" cy="5758296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AGE NUMBER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zh-TW" dirty="0">
                <a:solidFill>
                  <a:srgbClr val="14446C"/>
                </a:solidFill>
              </a:rPr>
              <a:t> </a:t>
            </a:r>
            <a:fld id="{26A7BADF-5F27-4CB2-8B98-151E9E647770}" type="slidenum">
              <a:rPr lang="en-GB" altLang="zh-TW">
                <a:solidFill>
                  <a:srgbClr val="14446C"/>
                </a:solidFill>
              </a:rPr>
              <a:pPr>
                <a:defRPr/>
              </a:pPr>
              <a:t>‹#›</a:t>
            </a:fld>
            <a:endParaRPr lang="en-GB" altLang="zh-TW" dirty="0">
              <a:solidFill>
                <a:srgbClr val="14446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15619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sz="quarter"/>
          </p:nvPr>
        </p:nvSpPr>
        <p:spPr>
          <a:xfrm>
            <a:off x="311740" y="161636"/>
            <a:ext cx="8432512" cy="81539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quarter" idx="1"/>
          </p:nvPr>
        </p:nvSpPr>
        <p:spPr>
          <a:xfrm>
            <a:off x="311739" y="1628044"/>
            <a:ext cx="4188114" cy="207673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38411" y="1628044"/>
            <a:ext cx="4189557" cy="207673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311739" y="3843193"/>
            <a:ext cx="4188114" cy="20767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38411" y="3843193"/>
            <a:ext cx="4189557" cy="20767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PAGE NUMBER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zh-TW" dirty="0">
                <a:solidFill>
                  <a:srgbClr val="14446C"/>
                </a:solidFill>
              </a:rPr>
              <a:t> </a:t>
            </a:r>
            <a:fld id="{60D67A01-A03C-4593-93D2-0D8386AA76D5}" type="slidenum">
              <a:rPr lang="en-GB" altLang="zh-TW">
                <a:solidFill>
                  <a:srgbClr val="14446C"/>
                </a:solidFill>
              </a:rPr>
              <a:pPr>
                <a:defRPr/>
              </a:pPr>
              <a:t>‹#›</a:t>
            </a:fld>
            <a:endParaRPr lang="en-GB" altLang="zh-TW" dirty="0">
              <a:solidFill>
                <a:srgbClr val="14446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60371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. Типов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50177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3319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200" b="0" i="0" baseline="0" dirty="0">
              <a:latin typeface="Tahoma" panose="020B0604030504040204" pitchFamily="34" charset="0"/>
              <a:ea typeface="+mj-ea"/>
              <a:cs typeface="+mj-cs"/>
              <a:sym typeface="Tahoma" panose="020B0604030504040204" pitchFamily="34" charset="0"/>
            </a:endParaRPr>
          </a:p>
        </p:txBody>
      </p:sp>
      <p:sp>
        <p:nvSpPr>
          <p:cNvPr id="5" name="PAGE NUMBER"/>
          <p:cNvSpPr>
            <a:spLocks noGrp="1" noChangeArrowheads="1"/>
          </p:cNvSpPr>
          <p:nvPr>
            <p:ph type="sldNum" sz="quarter" idx="4"/>
            <p:custDataLst>
              <p:tags r:id="rId4"/>
            </p:custDataLst>
          </p:nvPr>
        </p:nvSpPr>
        <p:spPr bwMode="black">
          <a:xfrm>
            <a:off x="8353137" y="6348557"/>
            <a:ext cx="375227" cy="38677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spcBef>
                <a:spcPct val="0"/>
              </a:spcBef>
              <a:defRPr sz="1000" b="0">
                <a:solidFill>
                  <a:schemeClr val="tx2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defTabSz="913588">
              <a:defRPr/>
            </a:pPr>
            <a:r>
              <a:rPr lang="en-GB" altLang="zh-TW" dirty="0">
                <a:latin typeface="Tahoma" panose="020B0604030504040204" pitchFamily="34" charset="0"/>
              </a:rPr>
              <a:t> </a:t>
            </a:r>
            <a:fld id="{AC2CF52D-F9E0-495D-B83C-D554EBBABCB3}" type="slidenum">
              <a:rPr lang="en-GB" altLang="zh-TW" smtClean="0">
                <a:latin typeface="Tahoma" panose="020B0604030504040204" pitchFamily="34" charset="0"/>
              </a:rPr>
              <a:pPr defTabSz="913588">
                <a:defRPr/>
              </a:pPr>
              <a:t>‹#›</a:t>
            </a:fld>
            <a:endParaRPr lang="en-GB" altLang="zh-TW" dirty="0">
              <a:latin typeface="Tahoma" panose="020B0604030504040204" pitchFamily="34" charset="0"/>
            </a:endParaRPr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350519" y="144234"/>
            <a:ext cx="8452800" cy="591096"/>
          </a:xfrm>
          <a:prstGeom prst="rect">
            <a:avLst/>
          </a:prstGeom>
        </p:spPr>
        <p:txBody>
          <a:bodyPr anchor="b"/>
          <a:lstStyle>
            <a:lvl1pPr>
              <a:defRPr sz="2200">
                <a:solidFill>
                  <a:srgbClr val="0077C8"/>
                </a:solidFill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330234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1740" y="161636"/>
            <a:ext cx="8432512" cy="81539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311729" y="1628036"/>
            <a:ext cx="8516216" cy="4292023"/>
          </a:xfrm>
        </p:spPr>
        <p:txBody>
          <a:bodyPr/>
          <a:lstStyle/>
          <a:p>
            <a:pPr lvl="0"/>
            <a:endParaRPr lang="ru-RU" noProof="0" dirty="0"/>
          </a:p>
        </p:txBody>
      </p:sp>
      <p:sp>
        <p:nvSpPr>
          <p:cNvPr id="4" name="PAGE NUMBER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zh-TW" dirty="0">
                <a:solidFill>
                  <a:srgbClr val="14446C"/>
                </a:solidFill>
              </a:rPr>
              <a:t> </a:t>
            </a:r>
            <a:fld id="{67A557AA-9290-4FCD-A29B-5400C4655787}" type="slidenum">
              <a:rPr lang="en-GB" altLang="zh-TW">
                <a:solidFill>
                  <a:srgbClr val="14446C"/>
                </a:solidFill>
              </a:rPr>
              <a:pPr>
                <a:defRPr/>
              </a:pPr>
              <a:t>‹#›</a:t>
            </a:fld>
            <a:endParaRPr lang="en-GB" altLang="zh-TW" dirty="0">
              <a:solidFill>
                <a:srgbClr val="14446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53700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текст картинка справа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hape 21"/>
          <p:cNvSpPr>
            <a:spLocks noGrp="1"/>
          </p:cNvSpPr>
          <p:nvPr>
            <p:ph type="title"/>
          </p:nvPr>
        </p:nvSpPr>
        <p:spPr>
          <a:xfrm>
            <a:off x="538164" y="645069"/>
            <a:ext cx="8081963" cy="911722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025" cap="all">
                <a:solidFill>
                  <a:schemeClr val="accent1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2" name="Shape 22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  <p:sp>
        <p:nvSpPr>
          <p:cNvPr id="23" name="Shape 23"/>
          <p:cNvSpPr>
            <a:spLocks noGrp="1"/>
          </p:cNvSpPr>
          <p:nvPr>
            <p:ph type="body" sz="quarter" idx="1"/>
          </p:nvPr>
        </p:nvSpPr>
        <p:spPr>
          <a:xfrm>
            <a:off x="547691" y="1817692"/>
            <a:ext cx="4024312" cy="96324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SzTx/>
              <a:buFontTx/>
              <a:buNone/>
              <a:defRPr sz="975">
                <a:solidFill>
                  <a:schemeClr val="accent5"/>
                </a:solidFill>
              </a:defRPr>
            </a:lvl1pPr>
            <a:lvl2pPr marL="442350" indent="-99490">
              <a:spcBef>
                <a:spcPts val="0"/>
              </a:spcBef>
              <a:buFontTx/>
              <a:defRPr sz="975">
                <a:solidFill>
                  <a:schemeClr val="accent5"/>
                </a:solidFill>
              </a:defRPr>
            </a:lvl2pPr>
            <a:lvl3pPr marL="778579" indent="-92859">
              <a:spcBef>
                <a:spcPts val="0"/>
              </a:spcBef>
              <a:buFontTx/>
              <a:defRPr sz="975">
                <a:solidFill>
                  <a:schemeClr val="accent5"/>
                </a:solidFill>
              </a:defRPr>
            </a:lvl3pPr>
            <a:lvl4pPr marL="1140010" indent="-111429">
              <a:spcBef>
                <a:spcPts val="0"/>
              </a:spcBef>
              <a:buFontTx/>
              <a:defRPr sz="975">
                <a:solidFill>
                  <a:schemeClr val="accent5"/>
                </a:solidFill>
              </a:defRPr>
            </a:lvl4pPr>
            <a:lvl5pPr marL="1482869" indent="-111429">
              <a:spcBef>
                <a:spcPts val="0"/>
              </a:spcBef>
              <a:buFontTx/>
              <a:defRPr sz="975">
                <a:solidFill>
                  <a:schemeClr val="accent5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4" name="Shape 24"/>
          <p:cNvSpPr>
            <a:spLocks noGrp="1"/>
          </p:cNvSpPr>
          <p:nvPr>
            <p:ph type="body" sz="quarter" idx="13"/>
          </p:nvPr>
        </p:nvSpPr>
        <p:spPr>
          <a:xfrm>
            <a:off x="557214" y="3078163"/>
            <a:ext cx="4014789" cy="2447926"/>
          </a:xfrm>
          <a:prstGeom prst="rect">
            <a:avLst/>
          </a:prstGeom>
        </p:spPr>
        <p:txBody>
          <a:bodyPr lIns="0" tIns="0" rIns="0" bIns="0"/>
          <a:lstStyle>
            <a:lvl1pPr marL="183654" indent="-183654">
              <a:spcBef>
                <a:spcPts val="0"/>
              </a:spcBef>
              <a:buSzPct val="120000"/>
              <a:tabLst>
                <a:tab pos="272114" algn="l"/>
              </a:tabLst>
              <a:defRPr sz="1200"/>
            </a:lvl1pPr>
          </a:lstStyle>
          <a:p>
            <a:pPr marL="180000" indent="-180000">
              <a:spcBef>
                <a:spcPts val="0"/>
              </a:spcBef>
              <a:buSzPct val="120000"/>
              <a:tabLst>
                <a:tab pos="266700" algn="l"/>
              </a:tabLst>
              <a:defRPr sz="1200"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18949811"/>
      </p:ext>
    </p:extLst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 с заменямым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fix_image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78"/>
          <a:stretch/>
        </p:blipFill>
        <p:spPr>
          <a:xfrm>
            <a:off x="687600" y="343902"/>
            <a:ext cx="8456399" cy="3733171"/>
          </a:xfrm>
          <a:prstGeom prst="rect">
            <a:avLst/>
          </a:prstGeom>
        </p:spPr>
      </p:pic>
      <p:sp>
        <p:nvSpPr>
          <p:cNvPr id="13" name="smen_image" hidden="1"/>
          <p:cNvSpPr>
            <a:spLocks noGrp="1"/>
          </p:cNvSpPr>
          <p:nvPr>
            <p:ph type="pic" sz="quarter" idx="13"/>
          </p:nvPr>
        </p:nvSpPr>
        <p:spPr>
          <a:xfrm>
            <a:off x="687600" y="348342"/>
            <a:ext cx="8456399" cy="3730359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656662" y="4392033"/>
            <a:ext cx="6425379" cy="560968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1656662" y="5120006"/>
            <a:ext cx="2680963" cy="2159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ru-RU" dirty="0"/>
              <a:t>Статус реализации проекта</a:t>
            </a:r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15" hasCustomPrompt="1"/>
          </p:nvPr>
        </p:nvSpPr>
        <p:spPr>
          <a:xfrm>
            <a:off x="1656662" y="5340346"/>
            <a:ext cx="2680963" cy="21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ru-RU" baseline="0" smtClean="0">
                <a:solidFill>
                  <a:schemeClr val="accent5"/>
                </a:solidFill>
              </a:defRPr>
            </a:lvl1pPr>
          </a:lstStyle>
          <a:p>
            <a:pPr lvl="0"/>
            <a:r>
              <a:rPr lang="ru-RU" dirty="0" err="1"/>
              <a:t>дд</a:t>
            </a:r>
            <a:r>
              <a:rPr lang="ru-RU" dirty="0"/>
              <a:t>/мм/</a:t>
            </a:r>
            <a:r>
              <a:rPr lang="ru-RU" dirty="0" err="1"/>
              <a:t>гггг</a:t>
            </a:r>
            <a:endParaRPr lang="ru-RU" dirty="0"/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16" hasCustomPrompt="1"/>
          </p:nvPr>
        </p:nvSpPr>
        <p:spPr>
          <a:xfrm>
            <a:off x="1820557" y="5980903"/>
            <a:ext cx="2682000" cy="108000"/>
          </a:xfrm>
        </p:spPr>
        <p:txBody>
          <a:bodyPr vert="horz" lIns="0" tIns="0" rIns="0" bIns="0" rtlCol="0" anchor="ctr">
            <a:noAutofit/>
          </a:bodyPr>
          <a:lstStyle>
            <a:lvl1pPr>
              <a:spcBef>
                <a:spcPts val="0"/>
              </a:spcBef>
              <a:defRPr lang="ru-RU" sz="800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ru-RU" dirty="0"/>
              <a:t>Департамент</a:t>
            </a:r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7" hasCustomPrompt="1"/>
          </p:nvPr>
        </p:nvSpPr>
        <p:spPr>
          <a:xfrm>
            <a:off x="1820557" y="6100679"/>
            <a:ext cx="2682000" cy="108000"/>
          </a:xfrm>
        </p:spPr>
        <p:txBody>
          <a:bodyPr vert="horz" lIns="0" tIns="0" rIns="0" bIns="0" rtlCol="0" anchor="ctr">
            <a:noAutofit/>
          </a:bodyPr>
          <a:lstStyle>
            <a:lvl1pPr>
              <a:spcBef>
                <a:spcPts val="0"/>
              </a:spcBef>
              <a:defRPr lang="ru-RU" sz="800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ru-RU" dirty="0"/>
              <a:t>Город</a:t>
            </a:r>
          </a:p>
        </p:txBody>
      </p:sp>
      <p:sp>
        <p:nvSpPr>
          <p:cNvPr id="22" name="ekz_rus"/>
          <p:cNvSpPr>
            <a:spLocks noGrp="1"/>
          </p:cNvSpPr>
          <p:nvPr>
            <p:ph type="body" sz="quarter" idx="18" hasCustomPrompt="1"/>
          </p:nvPr>
        </p:nvSpPr>
        <p:spPr>
          <a:xfrm>
            <a:off x="1820558" y="6597650"/>
            <a:ext cx="1080000" cy="108000"/>
          </a:xfrm>
        </p:spPr>
        <p:txBody>
          <a:bodyPr vert="horz" lIns="0" tIns="0" rIns="0" bIns="0" rtlCol="0" anchor="ctr">
            <a:noAutofit/>
          </a:bodyPr>
          <a:lstStyle>
            <a:lvl1pPr>
              <a:spcBef>
                <a:spcPts val="0"/>
              </a:spcBef>
              <a:defRPr lang="ru-RU" sz="800" baseline="0" smtClean="0">
                <a:solidFill>
                  <a:schemeClr val="accent5"/>
                </a:solidFill>
              </a:defRPr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/>
              <a:t>Экз. №</a:t>
            </a:r>
            <a:endParaRPr lang="ru-RU" dirty="0"/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1663843" y="5997476"/>
            <a:ext cx="0" cy="70560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52561"/>
          <a:stretch/>
        </p:blipFill>
        <p:spPr>
          <a:xfrm>
            <a:off x="6355501" y="3356993"/>
            <a:ext cx="2800232" cy="720080"/>
          </a:xfrm>
          <a:prstGeom prst="rect">
            <a:avLst/>
          </a:prstGeom>
        </p:spPr>
      </p:pic>
      <p:pic>
        <p:nvPicPr>
          <p:cNvPr id="21" name="LogoRus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27035" y="3510542"/>
            <a:ext cx="2055306" cy="432000"/>
          </a:xfrm>
          <a:prstGeom prst="rect">
            <a:avLst/>
          </a:prstGeom>
        </p:spPr>
      </p:pic>
      <p:pic>
        <p:nvPicPr>
          <p:cNvPr id="23" name="LogoEng" hidden="1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27035" y="3510542"/>
            <a:ext cx="1931804" cy="432000"/>
          </a:xfrm>
          <a:prstGeom prst="rect">
            <a:avLst/>
          </a:prstGeom>
        </p:spPr>
      </p:pic>
      <p:sp>
        <p:nvSpPr>
          <p:cNvPr id="24" name="com_taina1_rus" hidden="1"/>
          <p:cNvSpPr txBox="1"/>
          <p:nvPr/>
        </p:nvSpPr>
        <p:spPr>
          <a:xfrm>
            <a:off x="1821600" y="6472800"/>
            <a:ext cx="1747273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ru-RU" sz="800" b="1" dirty="0">
                <a:solidFill>
                  <a:schemeClr val="accent1"/>
                </a:solidFill>
              </a:rPr>
              <a:t>Коммерческая тайна (1 категория)</a:t>
            </a:r>
          </a:p>
        </p:txBody>
      </p:sp>
      <p:sp>
        <p:nvSpPr>
          <p:cNvPr id="26" name="com_taina_rus" hidden="1"/>
          <p:cNvSpPr txBox="1"/>
          <p:nvPr/>
        </p:nvSpPr>
        <p:spPr>
          <a:xfrm>
            <a:off x="1821600" y="6472800"/>
            <a:ext cx="105798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800" b="1" dirty="0">
                <a:solidFill>
                  <a:schemeClr val="accent1"/>
                </a:solidFill>
              </a:rPr>
              <a:t>Коммерческая тайна</a:t>
            </a:r>
          </a:p>
        </p:txBody>
      </p:sp>
      <p:sp>
        <p:nvSpPr>
          <p:cNvPr id="27" name="com_taina1_eng" hidden="1"/>
          <p:cNvSpPr txBox="1"/>
          <p:nvPr/>
        </p:nvSpPr>
        <p:spPr>
          <a:xfrm>
            <a:off x="1821600" y="6472800"/>
            <a:ext cx="128400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800" b="1" dirty="0">
                <a:solidFill>
                  <a:schemeClr val="accent1"/>
                </a:solidFill>
              </a:rPr>
              <a:t>Trade secret </a:t>
            </a:r>
            <a:r>
              <a:rPr lang="ru-RU" sz="800" b="1" dirty="0">
                <a:solidFill>
                  <a:schemeClr val="accent1"/>
                </a:solidFill>
              </a:rPr>
              <a:t> (1 </a:t>
            </a:r>
            <a:r>
              <a:rPr lang="en-US" sz="800" b="1" dirty="0">
                <a:solidFill>
                  <a:schemeClr val="accent1"/>
                </a:solidFill>
              </a:rPr>
              <a:t>category</a:t>
            </a:r>
            <a:r>
              <a:rPr lang="ru-RU" sz="800" b="1" dirty="0">
                <a:solidFill>
                  <a:schemeClr val="accent1"/>
                </a:solidFill>
              </a:rPr>
              <a:t>)</a:t>
            </a:r>
          </a:p>
        </p:txBody>
      </p:sp>
      <p:sp>
        <p:nvSpPr>
          <p:cNvPr id="28" name="com_taina_eng" hidden="1"/>
          <p:cNvSpPr txBox="1"/>
          <p:nvPr/>
        </p:nvSpPr>
        <p:spPr>
          <a:xfrm>
            <a:off x="1821600" y="6472800"/>
            <a:ext cx="61395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800" b="1" dirty="0">
                <a:solidFill>
                  <a:schemeClr val="accent1"/>
                </a:solidFill>
              </a:rPr>
              <a:t>Trade secret</a:t>
            </a:r>
            <a:endParaRPr lang="ru-RU" sz="800" b="1" dirty="0">
              <a:solidFill>
                <a:schemeClr val="accent1"/>
              </a:solidFill>
            </a:endParaRPr>
          </a:p>
        </p:txBody>
      </p:sp>
      <p:sp>
        <p:nvSpPr>
          <p:cNvPr id="29" name="ekz_eng" hidden="1"/>
          <p:cNvSpPr>
            <a:spLocks noGrp="1"/>
          </p:cNvSpPr>
          <p:nvPr>
            <p:ph type="body" sz="quarter" idx="19" hasCustomPrompt="1"/>
          </p:nvPr>
        </p:nvSpPr>
        <p:spPr>
          <a:xfrm>
            <a:off x="1820558" y="6597650"/>
            <a:ext cx="1080000" cy="108000"/>
          </a:xfrm>
        </p:spPr>
        <p:txBody>
          <a:bodyPr vert="horz" lIns="0" tIns="0" rIns="0" bIns="0" rtlCol="0" anchor="ctr">
            <a:noAutofit/>
          </a:bodyPr>
          <a:lstStyle>
            <a:lvl1pPr>
              <a:spcBef>
                <a:spcPts val="0"/>
              </a:spcBef>
              <a:defRPr lang="ru-RU" sz="800" baseline="0" smtClean="0">
                <a:solidFill>
                  <a:schemeClr val="accent5"/>
                </a:solidFill>
              </a:defRPr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en-US" dirty="0"/>
              <a:t>Ex</a:t>
            </a:r>
            <a:r>
              <a:rPr lang="ru-RU" dirty="0"/>
              <a:t>. №</a:t>
            </a:r>
          </a:p>
        </p:txBody>
      </p:sp>
    </p:spTree>
    <p:extLst>
      <p:ext uri="{BB962C8B-B14F-4D97-AF65-F5344CB8AC3E}">
        <p14:creationId xmlns:p14="http://schemas.microsoft.com/office/powerpoint/2010/main" val="155933537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48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7" y="163284"/>
            <a:ext cx="7453313" cy="633412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Номер слайда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DDEF7-4D45-49A0-8BE1-BFE95F4A2986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25" name="number_snoska1" hidden="1"/>
          <p:cNvSpPr>
            <a:spLocks noGrp="1"/>
          </p:cNvSpPr>
          <p:nvPr>
            <p:ph type="body" sz="quarter" idx="13" hasCustomPrompt="1"/>
          </p:nvPr>
        </p:nvSpPr>
        <p:spPr>
          <a:xfrm>
            <a:off x="287421" y="6442126"/>
            <a:ext cx="72579" cy="108000"/>
          </a:xfrm>
        </p:spPr>
        <p:txBody>
          <a:bodyPr lIns="0" tIns="0" rIns="0" bIns="0" anchor="ctr">
            <a:noAutofit/>
          </a:bodyPr>
          <a:lstStyle>
            <a:lvl1pPr>
              <a:defRPr lang="ru-RU" sz="800" baseline="30000" dirty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1</a:t>
            </a:r>
            <a:endParaRPr lang="ru-RU" dirty="0"/>
          </a:p>
        </p:txBody>
      </p:sp>
      <p:sp>
        <p:nvSpPr>
          <p:cNvPr id="26" name="number_snoska2" hidden="1"/>
          <p:cNvSpPr>
            <a:spLocks noGrp="1"/>
          </p:cNvSpPr>
          <p:nvPr>
            <p:ph type="body" sz="quarter" idx="14" hasCustomPrompt="1"/>
          </p:nvPr>
        </p:nvSpPr>
        <p:spPr>
          <a:xfrm>
            <a:off x="287421" y="6587215"/>
            <a:ext cx="72579" cy="108000"/>
          </a:xfrm>
        </p:spPr>
        <p:txBody>
          <a:bodyPr lIns="0" tIns="0" rIns="0" bIns="0" anchor="ctr">
            <a:noAutofit/>
          </a:bodyPr>
          <a:lstStyle>
            <a:lvl1pPr>
              <a:defRPr lang="ru-RU" sz="800" baseline="30000" dirty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2</a:t>
            </a:r>
            <a:endParaRPr lang="ru-RU" dirty="0"/>
          </a:p>
        </p:txBody>
      </p:sp>
      <p:sp>
        <p:nvSpPr>
          <p:cNvPr id="28" name="snoska1" hidden="1"/>
          <p:cNvSpPr>
            <a:spLocks noGrp="1"/>
          </p:cNvSpPr>
          <p:nvPr>
            <p:ph type="body" sz="quarter" idx="15" hasCustomPrompt="1"/>
          </p:nvPr>
        </p:nvSpPr>
        <p:spPr>
          <a:xfrm>
            <a:off x="362269" y="6440967"/>
            <a:ext cx="8100000" cy="144000"/>
          </a:xfrm>
        </p:spPr>
        <p:txBody>
          <a:bodyPr lIns="0" tIns="0" rIns="0" bIns="0" anchor="ctr">
            <a:noAutofit/>
          </a:bodyPr>
          <a:lstStyle>
            <a:lvl1pPr>
              <a:defRPr lang="ru-RU" sz="1000" dirty="0" smtClean="0">
                <a:solidFill>
                  <a:schemeClr val="accent5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ru-RU" dirty="0"/>
              <a:t>Сноска 1</a:t>
            </a:r>
          </a:p>
        </p:txBody>
      </p:sp>
      <p:sp>
        <p:nvSpPr>
          <p:cNvPr id="29" name="snoska2" hidden="1"/>
          <p:cNvSpPr>
            <a:spLocks noGrp="1"/>
          </p:cNvSpPr>
          <p:nvPr>
            <p:ph type="body" sz="quarter" idx="16" hasCustomPrompt="1"/>
          </p:nvPr>
        </p:nvSpPr>
        <p:spPr>
          <a:xfrm>
            <a:off x="362269" y="6586567"/>
            <a:ext cx="8100000" cy="144000"/>
          </a:xfrm>
        </p:spPr>
        <p:txBody>
          <a:bodyPr lIns="0" tIns="0" rIns="0" bIns="0" anchor="ctr">
            <a:noAutofit/>
          </a:bodyPr>
          <a:lstStyle>
            <a:lvl1pPr>
              <a:defRPr lang="ru-RU" sz="1000" dirty="0" smtClean="0">
                <a:solidFill>
                  <a:schemeClr val="accent5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ru-RU" dirty="0"/>
              <a:t>Сноска </a:t>
            </a:r>
            <a:r>
              <a:rPr lang="en-US" dirty="0"/>
              <a:t>2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689444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50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7" y="163284"/>
            <a:ext cx="7453313" cy="633412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Номер слайда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DDEF7-4D45-49A0-8BE1-BFE95F4A2986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25" name="number_snoska1" hidden="1"/>
          <p:cNvSpPr>
            <a:spLocks noGrp="1"/>
          </p:cNvSpPr>
          <p:nvPr>
            <p:ph type="body" sz="quarter" idx="13" hasCustomPrompt="1"/>
          </p:nvPr>
        </p:nvSpPr>
        <p:spPr>
          <a:xfrm>
            <a:off x="287421" y="6442126"/>
            <a:ext cx="72579" cy="108000"/>
          </a:xfrm>
        </p:spPr>
        <p:txBody>
          <a:bodyPr lIns="0" tIns="0" rIns="0" bIns="0" anchor="ctr">
            <a:noAutofit/>
          </a:bodyPr>
          <a:lstStyle>
            <a:lvl1pPr>
              <a:defRPr lang="ru-RU" sz="800" baseline="30000" dirty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1</a:t>
            </a:r>
            <a:endParaRPr lang="ru-RU" dirty="0"/>
          </a:p>
        </p:txBody>
      </p:sp>
      <p:sp>
        <p:nvSpPr>
          <p:cNvPr id="26" name="number_snoska2" hidden="1"/>
          <p:cNvSpPr>
            <a:spLocks noGrp="1"/>
          </p:cNvSpPr>
          <p:nvPr>
            <p:ph type="body" sz="quarter" idx="14" hasCustomPrompt="1"/>
          </p:nvPr>
        </p:nvSpPr>
        <p:spPr>
          <a:xfrm>
            <a:off x="287421" y="6587215"/>
            <a:ext cx="72579" cy="108000"/>
          </a:xfrm>
        </p:spPr>
        <p:txBody>
          <a:bodyPr lIns="0" tIns="0" rIns="0" bIns="0" anchor="ctr">
            <a:noAutofit/>
          </a:bodyPr>
          <a:lstStyle>
            <a:lvl1pPr>
              <a:defRPr lang="ru-RU" sz="800" baseline="30000" dirty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2</a:t>
            </a:r>
            <a:endParaRPr lang="ru-RU" dirty="0"/>
          </a:p>
        </p:txBody>
      </p:sp>
      <p:sp>
        <p:nvSpPr>
          <p:cNvPr id="28" name="snoska1" hidden="1"/>
          <p:cNvSpPr>
            <a:spLocks noGrp="1"/>
          </p:cNvSpPr>
          <p:nvPr>
            <p:ph type="body" sz="quarter" idx="15" hasCustomPrompt="1"/>
          </p:nvPr>
        </p:nvSpPr>
        <p:spPr>
          <a:xfrm>
            <a:off x="362269" y="6440967"/>
            <a:ext cx="8100000" cy="144000"/>
          </a:xfrm>
        </p:spPr>
        <p:txBody>
          <a:bodyPr lIns="0" tIns="0" rIns="0" bIns="0" anchor="ctr">
            <a:noAutofit/>
          </a:bodyPr>
          <a:lstStyle>
            <a:lvl1pPr>
              <a:defRPr lang="ru-RU" sz="1000" dirty="0" smtClean="0">
                <a:solidFill>
                  <a:schemeClr val="accent5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ru-RU" dirty="0"/>
              <a:t>Сноска 1</a:t>
            </a:r>
          </a:p>
        </p:txBody>
      </p:sp>
      <p:sp>
        <p:nvSpPr>
          <p:cNvPr id="29" name="snoska2" hidden="1"/>
          <p:cNvSpPr>
            <a:spLocks noGrp="1"/>
          </p:cNvSpPr>
          <p:nvPr>
            <p:ph type="body" sz="quarter" idx="16" hasCustomPrompt="1"/>
          </p:nvPr>
        </p:nvSpPr>
        <p:spPr>
          <a:xfrm>
            <a:off x="362269" y="6586567"/>
            <a:ext cx="8100000" cy="144000"/>
          </a:xfrm>
        </p:spPr>
        <p:txBody>
          <a:bodyPr lIns="0" tIns="0" rIns="0" bIns="0" anchor="ctr">
            <a:noAutofit/>
          </a:bodyPr>
          <a:lstStyle>
            <a:lvl1pPr>
              <a:defRPr lang="ru-RU" sz="1000" dirty="0" smtClean="0">
                <a:solidFill>
                  <a:schemeClr val="accent5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ru-RU" dirty="0"/>
              <a:t>Сноска </a:t>
            </a:r>
            <a:r>
              <a:rPr lang="en-US" dirty="0"/>
              <a:t>2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2760517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 с заменямым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fix_image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78"/>
          <a:stretch/>
        </p:blipFill>
        <p:spPr>
          <a:xfrm>
            <a:off x="687600" y="343902"/>
            <a:ext cx="8456399" cy="3733171"/>
          </a:xfrm>
          <a:prstGeom prst="rect">
            <a:avLst/>
          </a:prstGeom>
        </p:spPr>
      </p:pic>
      <p:sp>
        <p:nvSpPr>
          <p:cNvPr id="13" name="smen_image" hidden="1"/>
          <p:cNvSpPr>
            <a:spLocks noGrp="1"/>
          </p:cNvSpPr>
          <p:nvPr>
            <p:ph type="pic" sz="quarter" idx="13"/>
          </p:nvPr>
        </p:nvSpPr>
        <p:spPr>
          <a:xfrm>
            <a:off x="687600" y="348342"/>
            <a:ext cx="8456399" cy="3730359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656662" y="4392033"/>
            <a:ext cx="6425379" cy="560968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1656662" y="5120006"/>
            <a:ext cx="2680963" cy="2159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ru-RU" dirty="0"/>
              <a:t>Статус реализации проекта</a:t>
            </a:r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15" hasCustomPrompt="1"/>
          </p:nvPr>
        </p:nvSpPr>
        <p:spPr>
          <a:xfrm>
            <a:off x="1656662" y="5340346"/>
            <a:ext cx="2680963" cy="21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ru-RU" baseline="0" smtClean="0">
                <a:solidFill>
                  <a:schemeClr val="accent5"/>
                </a:solidFill>
              </a:defRPr>
            </a:lvl1pPr>
          </a:lstStyle>
          <a:p>
            <a:pPr lvl="0"/>
            <a:r>
              <a:rPr lang="ru-RU" dirty="0" err="1"/>
              <a:t>дд</a:t>
            </a:r>
            <a:r>
              <a:rPr lang="ru-RU" dirty="0"/>
              <a:t>/мм/</a:t>
            </a:r>
            <a:r>
              <a:rPr lang="ru-RU" dirty="0" err="1"/>
              <a:t>гггг</a:t>
            </a:r>
            <a:endParaRPr lang="ru-RU" dirty="0"/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16" hasCustomPrompt="1"/>
          </p:nvPr>
        </p:nvSpPr>
        <p:spPr>
          <a:xfrm>
            <a:off x="1820557" y="5980903"/>
            <a:ext cx="2682000" cy="108000"/>
          </a:xfrm>
        </p:spPr>
        <p:txBody>
          <a:bodyPr vert="horz" lIns="0" tIns="0" rIns="0" bIns="0" rtlCol="0" anchor="ctr">
            <a:noAutofit/>
          </a:bodyPr>
          <a:lstStyle>
            <a:lvl1pPr>
              <a:spcBef>
                <a:spcPts val="0"/>
              </a:spcBef>
              <a:defRPr lang="ru-RU" sz="800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ru-RU" dirty="0"/>
              <a:t>Департамент</a:t>
            </a:r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7" hasCustomPrompt="1"/>
          </p:nvPr>
        </p:nvSpPr>
        <p:spPr>
          <a:xfrm>
            <a:off x="1820557" y="6100679"/>
            <a:ext cx="2682000" cy="108000"/>
          </a:xfrm>
        </p:spPr>
        <p:txBody>
          <a:bodyPr vert="horz" lIns="0" tIns="0" rIns="0" bIns="0" rtlCol="0" anchor="ctr">
            <a:noAutofit/>
          </a:bodyPr>
          <a:lstStyle>
            <a:lvl1pPr>
              <a:spcBef>
                <a:spcPts val="0"/>
              </a:spcBef>
              <a:defRPr lang="ru-RU" sz="800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ru-RU" dirty="0"/>
              <a:t>Город</a:t>
            </a:r>
          </a:p>
        </p:txBody>
      </p:sp>
      <p:sp>
        <p:nvSpPr>
          <p:cNvPr id="22" name="ekz_rus"/>
          <p:cNvSpPr>
            <a:spLocks noGrp="1"/>
          </p:cNvSpPr>
          <p:nvPr>
            <p:ph type="body" sz="quarter" idx="18" hasCustomPrompt="1"/>
          </p:nvPr>
        </p:nvSpPr>
        <p:spPr>
          <a:xfrm>
            <a:off x="1820558" y="6597650"/>
            <a:ext cx="1080000" cy="108000"/>
          </a:xfrm>
        </p:spPr>
        <p:txBody>
          <a:bodyPr vert="horz" lIns="0" tIns="0" rIns="0" bIns="0" rtlCol="0" anchor="ctr">
            <a:noAutofit/>
          </a:bodyPr>
          <a:lstStyle>
            <a:lvl1pPr>
              <a:spcBef>
                <a:spcPts val="0"/>
              </a:spcBef>
              <a:defRPr lang="ru-RU" sz="800" baseline="0" smtClean="0">
                <a:solidFill>
                  <a:schemeClr val="accent5"/>
                </a:solidFill>
              </a:defRPr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/>
              <a:t>Экз. №</a:t>
            </a:r>
            <a:endParaRPr lang="ru-RU" dirty="0"/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1663843" y="5997476"/>
            <a:ext cx="0" cy="70560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52561"/>
          <a:stretch/>
        </p:blipFill>
        <p:spPr>
          <a:xfrm>
            <a:off x="6355501" y="3356993"/>
            <a:ext cx="2800232" cy="720080"/>
          </a:xfrm>
          <a:prstGeom prst="rect">
            <a:avLst/>
          </a:prstGeom>
        </p:spPr>
      </p:pic>
      <p:pic>
        <p:nvPicPr>
          <p:cNvPr id="21" name="LogoRus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27035" y="3510542"/>
            <a:ext cx="2055306" cy="432000"/>
          </a:xfrm>
          <a:prstGeom prst="rect">
            <a:avLst/>
          </a:prstGeom>
        </p:spPr>
      </p:pic>
      <p:pic>
        <p:nvPicPr>
          <p:cNvPr id="23" name="LogoEng" hidden="1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27035" y="3510542"/>
            <a:ext cx="1931804" cy="432000"/>
          </a:xfrm>
          <a:prstGeom prst="rect">
            <a:avLst/>
          </a:prstGeom>
        </p:spPr>
      </p:pic>
      <p:sp>
        <p:nvSpPr>
          <p:cNvPr id="24" name="com_taina1_rus" hidden="1"/>
          <p:cNvSpPr txBox="1"/>
          <p:nvPr/>
        </p:nvSpPr>
        <p:spPr>
          <a:xfrm>
            <a:off x="1821600" y="6472800"/>
            <a:ext cx="1747273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ru-RU" sz="800" b="1" dirty="0">
                <a:solidFill>
                  <a:schemeClr val="accent1"/>
                </a:solidFill>
              </a:rPr>
              <a:t>Коммерческая тайна (1 категория)</a:t>
            </a:r>
          </a:p>
        </p:txBody>
      </p:sp>
      <p:sp>
        <p:nvSpPr>
          <p:cNvPr id="26" name="com_taina_rus" hidden="1"/>
          <p:cNvSpPr txBox="1"/>
          <p:nvPr/>
        </p:nvSpPr>
        <p:spPr>
          <a:xfrm>
            <a:off x="1821600" y="6472800"/>
            <a:ext cx="105798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800" b="1" dirty="0">
                <a:solidFill>
                  <a:schemeClr val="accent1"/>
                </a:solidFill>
              </a:rPr>
              <a:t>Коммерческая тайна</a:t>
            </a:r>
          </a:p>
        </p:txBody>
      </p:sp>
      <p:sp>
        <p:nvSpPr>
          <p:cNvPr id="27" name="com_taina1_eng" hidden="1"/>
          <p:cNvSpPr txBox="1"/>
          <p:nvPr/>
        </p:nvSpPr>
        <p:spPr>
          <a:xfrm>
            <a:off x="1821600" y="6472800"/>
            <a:ext cx="128400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800" b="1" dirty="0">
                <a:solidFill>
                  <a:schemeClr val="accent1"/>
                </a:solidFill>
              </a:rPr>
              <a:t>Trade secret </a:t>
            </a:r>
            <a:r>
              <a:rPr lang="ru-RU" sz="800" b="1" dirty="0">
                <a:solidFill>
                  <a:schemeClr val="accent1"/>
                </a:solidFill>
              </a:rPr>
              <a:t> (1 </a:t>
            </a:r>
            <a:r>
              <a:rPr lang="en-US" sz="800" b="1" dirty="0">
                <a:solidFill>
                  <a:schemeClr val="accent1"/>
                </a:solidFill>
              </a:rPr>
              <a:t>category</a:t>
            </a:r>
            <a:r>
              <a:rPr lang="ru-RU" sz="800" b="1" dirty="0">
                <a:solidFill>
                  <a:schemeClr val="accent1"/>
                </a:solidFill>
              </a:rPr>
              <a:t>)</a:t>
            </a:r>
          </a:p>
        </p:txBody>
      </p:sp>
      <p:sp>
        <p:nvSpPr>
          <p:cNvPr id="28" name="com_taina_eng" hidden="1"/>
          <p:cNvSpPr txBox="1"/>
          <p:nvPr/>
        </p:nvSpPr>
        <p:spPr>
          <a:xfrm>
            <a:off x="1821600" y="6472800"/>
            <a:ext cx="61395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800" b="1" dirty="0">
                <a:solidFill>
                  <a:schemeClr val="accent1"/>
                </a:solidFill>
              </a:rPr>
              <a:t>Trade secret</a:t>
            </a:r>
            <a:endParaRPr lang="ru-RU" sz="800" b="1" dirty="0">
              <a:solidFill>
                <a:schemeClr val="accent1"/>
              </a:solidFill>
            </a:endParaRPr>
          </a:p>
        </p:txBody>
      </p:sp>
      <p:sp>
        <p:nvSpPr>
          <p:cNvPr id="29" name="ekz_eng" hidden="1"/>
          <p:cNvSpPr>
            <a:spLocks noGrp="1"/>
          </p:cNvSpPr>
          <p:nvPr>
            <p:ph type="body" sz="quarter" idx="19" hasCustomPrompt="1"/>
          </p:nvPr>
        </p:nvSpPr>
        <p:spPr>
          <a:xfrm>
            <a:off x="1820558" y="6597650"/>
            <a:ext cx="1080000" cy="108000"/>
          </a:xfrm>
        </p:spPr>
        <p:txBody>
          <a:bodyPr vert="horz" lIns="0" tIns="0" rIns="0" bIns="0" rtlCol="0" anchor="ctr">
            <a:noAutofit/>
          </a:bodyPr>
          <a:lstStyle>
            <a:lvl1pPr>
              <a:spcBef>
                <a:spcPts val="0"/>
              </a:spcBef>
              <a:defRPr lang="ru-RU" sz="800" baseline="0" smtClean="0">
                <a:solidFill>
                  <a:schemeClr val="accent5"/>
                </a:solidFill>
              </a:defRPr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en-US" dirty="0"/>
              <a:t>Ex</a:t>
            </a:r>
            <a:r>
              <a:rPr lang="ru-RU" dirty="0"/>
              <a:t>. №</a:t>
            </a:r>
          </a:p>
        </p:txBody>
      </p:sp>
    </p:spTree>
    <p:extLst>
      <p:ext uri="{BB962C8B-B14F-4D97-AF65-F5344CB8AC3E}">
        <p14:creationId xmlns:p14="http://schemas.microsoft.com/office/powerpoint/2010/main" val="96588413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482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7" y="163284"/>
            <a:ext cx="7453313" cy="633412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Номер слайда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DDEF7-4D45-49A0-8BE1-BFE95F4A2986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25" name="number_snoska1" hidden="1"/>
          <p:cNvSpPr>
            <a:spLocks noGrp="1"/>
          </p:cNvSpPr>
          <p:nvPr>
            <p:ph type="body" sz="quarter" idx="13" hasCustomPrompt="1"/>
          </p:nvPr>
        </p:nvSpPr>
        <p:spPr>
          <a:xfrm>
            <a:off x="287421" y="6442126"/>
            <a:ext cx="72579" cy="108000"/>
          </a:xfrm>
        </p:spPr>
        <p:txBody>
          <a:bodyPr lIns="0" tIns="0" rIns="0" bIns="0" anchor="ctr">
            <a:noAutofit/>
          </a:bodyPr>
          <a:lstStyle>
            <a:lvl1pPr>
              <a:defRPr lang="ru-RU" sz="800" baseline="30000" dirty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1</a:t>
            </a:r>
            <a:endParaRPr lang="ru-RU" dirty="0"/>
          </a:p>
        </p:txBody>
      </p:sp>
      <p:sp>
        <p:nvSpPr>
          <p:cNvPr id="26" name="number_snoska2" hidden="1"/>
          <p:cNvSpPr>
            <a:spLocks noGrp="1"/>
          </p:cNvSpPr>
          <p:nvPr>
            <p:ph type="body" sz="quarter" idx="14" hasCustomPrompt="1"/>
          </p:nvPr>
        </p:nvSpPr>
        <p:spPr>
          <a:xfrm>
            <a:off x="287421" y="6587215"/>
            <a:ext cx="72579" cy="108000"/>
          </a:xfrm>
        </p:spPr>
        <p:txBody>
          <a:bodyPr lIns="0" tIns="0" rIns="0" bIns="0" anchor="ctr">
            <a:noAutofit/>
          </a:bodyPr>
          <a:lstStyle>
            <a:lvl1pPr>
              <a:defRPr lang="ru-RU" sz="800" baseline="30000" dirty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2</a:t>
            </a:r>
            <a:endParaRPr lang="ru-RU" dirty="0"/>
          </a:p>
        </p:txBody>
      </p:sp>
      <p:sp>
        <p:nvSpPr>
          <p:cNvPr id="28" name="snoska1" hidden="1"/>
          <p:cNvSpPr>
            <a:spLocks noGrp="1"/>
          </p:cNvSpPr>
          <p:nvPr>
            <p:ph type="body" sz="quarter" idx="15" hasCustomPrompt="1"/>
          </p:nvPr>
        </p:nvSpPr>
        <p:spPr>
          <a:xfrm>
            <a:off x="362269" y="6440967"/>
            <a:ext cx="8100000" cy="144000"/>
          </a:xfrm>
        </p:spPr>
        <p:txBody>
          <a:bodyPr lIns="0" tIns="0" rIns="0" bIns="0" anchor="ctr">
            <a:noAutofit/>
          </a:bodyPr>
          <a:lstStyle>
            <a:lvl1pPr>
              <a:defRPr lang="ru-RU" sz="1000" dirty="0" smtClean="0">
                <a:solidFill>
                  <a:schemeClr val="accent5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ru-RU" dirty="0"/>
              <a:t>Сноска 1</a:t>
            </a:r>
          </a:p>
        </p:txBody>
      </p:sp>
      <p:sp>
        <p:nvSpPr>
          <p:cNvPr id="29" name="snoska2" hidden="1"/>
          <p:cNvSpPr>
            <a:spLocks noGrp="1"/>
          </p:cNvSpPr>
          <p:nvPr>
            <p:ph type="body" sz="quarter" idx="16" hasCustomPrompt="1"/>
          </p:nvPr>
        </p:nvSpPr>
        <p:spPr>
          <a:xfrm>
            <a:off x="362269" y="6586567"/>
            <a:ext cx="8100000" cy="144000"/>
          </a:xfrm>
        </p:spPr>
        <p:txBody>
          <a:bodyPr lIns="0" tIns="0" rIns="0" bIns="0" anchor="ctr">
            <a:noAutofit/>
          </a:bodyPr>
          <a:lstStyle>
            <a:lvl1pPr>
              <a:defRPr lang="ru-RU" sz="1000" dirty="0" smtClean="0">
                <a:solidFill>
                  <a:schemeClr val="accent5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ru-RU" dirty="0"/>
              <a:t>Сноска </a:t>
            </a:r>
            <a:r>
              <a:rPr lang="en-US" dirty="0"/>
              <a:t>2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0483453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584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7" y="163284"/>
            <a:ext cx="7453313" cy="633412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Номер слайда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DDEF7-4D45-49A0-8BE1-BFE95F4A2986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25" name="number_snoska1" hidden="1"/>
          <p:cNvSpPr>
            <a:spLocks noGrp="1"/>
          </p:cNvSpPr>
          <p:nvPr>
            <p:ph type="body" sz="quarter" idx="13" hasCustomPrompt="1"/>
          </p:nvPr>
        </p:nvSpPr>
        <p:spPr>
          <a:xfrm>
            <a:off x="287421" y="6442126"/>
            <a:ext cx="72579" cy="108000"/>
          </a:xfrm>
        </p:spPr>
        <p:txBody>
          <a:bodyPr lIns="0" tIns="0" rIns="0" bIns="0" anchor="ctr">
            <a:noAutofit/>
          </a:bodyPr>
          <a:lstStyle>
            <a:lvl1pPr>
              <a:defRPr lang="ru-RU" sz="800" baseline="30000" dirty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1</a:t>
            </a:r>
            <a:endParaRPr lang="ru-RU" dirty="0"/>
          </a:p>
        </p:txBody>
      </p:sp>
      <p:sp>
        <p:nvSpPr>
          <p:cNvPr id="26" name="number_snoska2" hidden="1"/>
          <p:cNvSpPr>
            <a:spLocks noGrp="1"/>
          </p:cNvSpPr>
          <p:nvPr>
            <p:ph type="body" sz="quarter" idx="14" hasCustomPrompt="1"/>
          </p:nvPr>
        </p:nvSpPr>
        <p:spPr>
          <a:xfrm>
            <a:off x="287421" y="6587215"/>
            <a:ext cx="72579" cy="108000"/>
          </a:xfrm>
        </p:spPr>
        <p:txBody>
          <a:bodyPr lIns="0" tIns="0" rIns="0" bIns="0" anchor="ctr">
            <a:noAutofit/>
          </a:bodyPr>
          <a:lstStyle>
            <a:lvl1pPr>
              <a:defRPr lang="ru-RU" sz="800" baseline="30000" dirty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2</a:t>
            </a:r>
            <a:endParaRPr lang="ru-RU" dirty="0"/>
          </a:p>
        </p:txBody>
      </p:sp>
      <p:sp>
        <p:nvSpPr>
          <p:cNvPr id="28" name="snoska1" hidden="1"/>
          <p:cNvSpPr>
            <a:spLocks noGrp="1"/>
          </p:cNvSpPr>
          <p:nvPr>
            <p:ph type="body" sz="quarter" idx="15" hasCustomPrompt="1"/>
          </p:nvPr>
        </p:nvSpPr>
        <p:spPr>
          <a:xfrm>
            <a:off x="362269" y="6440967"/>
            <a:ext cx="8100000" cy="144000"/>
          </a:xfrm>
        </p:spPr>
        <p:txBody>
          <a:bodyPr lIns="0" tIns="0" rIns="0" bIns="0" anchor="ctr">
            <a:noAutofit/>
          </a:bodyPr>
          <a:lstStyle>
            <a:lvl1pPr>
              <a:defRPr lang="ru-RU" sz="1000" dirty="0" smtClean="0">
                <a:solidFill>
                  <a:schemeClr val="accent5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ru-RU" dirty="0"/>
              <a:t>Сноска 1</a:t>
            </a:r>
          </a:p>
        </p:txBody>
      </p:sp>
      <p:sp>
        <p:nvSpPr>
          <p:cNvPr id="29" name="snoska2" hidden="1"/>
          <p:cNvSpPr>
            <a:spLocks noGrp="1"/>
          </p:cNvSpPr>
          <p:nvPr>
            <p:ph type="body" sz="quarter" idx="16" hasCustomPrompt="1"/>
          </p:nvPr>
        </p:nvSpPr>
        <p:spPr>
          <a:xfrm>
            <a:off x="362269" y="6586567"/>
            <a:ext cx="8100000" cy="144000"/>
          </a:xfrm>
        </p:spPr>
        <p:txBody>
          <a:bodyPr lIns="0" tIns="0" rIns="0" bIns="0" anchor="ctr">
            <a:noAutofit/>
          </a:bodyPr>
          <a:lstStyle>
            <a:lvl1pPr>
              <a:defRPr lang="ru-RU" sz="1000" dirty="0" smtClean="0">
                <a:solidFill>
                  <a:schemeClr val="accent5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ru-RU" dirty="0"/>
              <a:t>Сноска </a:t>
            </a:r>
            <a:r>
              <a:rPr lang="en-US" dirty="0"/>
              <a:t>2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0132144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2724609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1981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350" b="1" i="0" baseline="0" dirty="0" err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grpSp>
        <p:nvGrpSpPr>
          <p:cNvPr id="5" name="Group 4"/>
          <p:cNvGrpSpPr/>
          <p:nvPr userDrawn="1"/>
        </p:nvGrpSpPr>
        <p:grpSpPr>
          <a:xfrm>
            <a:off x="944764" y="281354"/>
            <a:ext cx="8199236" cy="4166538"/>
            <a:chOff x="1259686" y="618978"/>
            <a:chExt cx="10932314" cy="4166538"/>
          </a:xfrm>
        </p:grpSpPr>
        <p:pic>
          <p:nvPicPr>
            <p:cNvPr id="16" name="smen_image"/>
            <p:cNvPicPr>
              <a:picLocks noChangeAspect="1"/>
            </p:cNvPicPr>
            <p:nvPr userDrawn="1"/>
          </p:nvPicPr>
          <p:blipFill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59686" y="618978"/>
              <a:ext cx="10917167" cy="4166538"/>
            </a:xfrm>
            <a:prstGeom prst="rect">
              <a:avLst/>
            </a:prstGeom>
          </p:spPr>
        </p:pic>
        <p:pic>
          <p:nvPicPr>
            <p:cNvPr id="19" name="Рисунок 14"/>
            <p:cNvPicPr>
              <a:picLocks noChangeAspect="1"/>
            </p:cNvPicPr>
            <p:nvPr userDrawn="1"/>
          </p:nvPicPr>
          <p:blipFill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52561"/>
            <a:stretch/>
          </p:blipFill>
          <p:spPr>
            <a:xfrm>
              <a:off x="8576915" y="3855406"/>
              <a:ext cx="3615085" cy="929619"/>
            </a:xfrm>
            <a:prstGeom prst="rect">
              <a:avLst/>
            </a:prstGeom>
          </p:spPr>
        </p:pic>
        <p:pic>
          <p:nvPicPr>
            <p:cNvPr id="28" name="LogoEng"/>
            <p:cNvPicPr>
              <a:picLocks noChangeAspect="1"/>
            </p:cNvPicPr>
            <p:nvPr userDrawn="1"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372208" y="4050911"/>
              <a:ext cx="2419182" cy="540990"/>
            </a:xfrm>
            <a:prstGeom prst="rect">
              <a:avLst/>
            </a:prstGeom>
          </p:spPr>
        </p:pic>
      </p:grpSp>
      <p:cxnSp>
        <p:nvCxnSpPr>
          <p:cNvPr id="29" name="Прямая соединительная линия 24"/>
          <p:cNvCxnSpPr/>
          <p:nvPr userDrawn="1"/>
        </p:nvCxnSpPr>
        <p:spPr>
          <a:xfrm>
            <a:off x="1242497" y="6000652"/>
            <a:ext cx="0" cy="700186"/>
          </a:xfrm>
          <a:prstGeom prst="line">
            <a:avLst/>
          </a:prstGeom>
          <a:ln w="6350">
            <a:solidFill>
              <a:srgbClr val="0077C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242497" y="4518645"/>
            <a:ext cx="4819034" cy="49859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algn="l" defTabSz="685800" rtl="0" eaLnBrk="1" latinLnBrk="0" hangingPunct="1">
              <a:lnSpc>
                <a:spcPct val="90000"/>
              </a:lnSpc>
              <a:defRPr lang="en-US" sz="1350" b="1" kern="1200" dirty="0" smtClean="0">
                <a:solidFill>
                  <a:srgbClr val="2B2A29"/>
                </a:solidFill>
                <a:latin typeface="Tahoma" panose="020B0604030504040204" pitchFamily="34" charset="0"/>
                <a:ea typeface="Tahoma"/>
                <a:cs typeface="Tahoma"/>
                <a:sym typeface="Tahoma" panose="020B0604030504040204" pitchFamily="34" charset="0"/>
              </a:defRPr>
            </a:lvl1pPr>
          </a:lstStyle>
          <a:p>
            <a:r>
              <a:rPr lang="en-US" dirty="0"/>
              <a:t>Title in Title Case (Tahoma Bold 18pt, Dark Gray)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242496" y="5529634"/>
            <a:ext cx="2010722" cy="215999"/>
          </a:xfrm>
          <a:prstGeom prst="rect">
            <a:avLst/>
          </a:prstGeom>
          <a:noFill/>
        </p:spPr>
        <p:txBody>
          <a:bodyPr anchor="t" anchorCtr="0"/>
          <a:lstStyle>
            <a:lvl1pPr algn="l">
              <a:lnSpc>
                <a:spcPct val="110000"/>
              </a:lnSpc>
              <a:buNone/>
              <a:defRPr lang="en-US" sz="1050" kern="1200" dirty="0">
                <a:solidFill>
                  <a:srgbClr val="2B2A29"/>
                </a:solidFill>
                <a:latin typeface="Tahoma" panose="020B0604030504040204" pitchFamily="34" charset="0"/>
                <a:ea typeface="Tahoma"/>
                <a:cs typeface="Tahoma"/>
                <a:sym typeface="Tahoma" panose="020B060403050404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171450" indent="0" algn="ctr">
              <a:buNone/>
              <a:defRPr/>
            </a:lvl4pPr>
            <a:lvl5pPr marL="342900" indent="0" algn="ctr">
              <a:buNone/>
              <a:defRPr/>
            </a:lvl5pPr>
          </a:lstStyle>
          <a:p>
            <a:pPr marL="0" lvl="0" algn="l" defTabSz="685800" rtl="0" eaLnBrk="1" latinLnBrk="0" hangingPunct="1">
              <a:lnSpc>
                <a:spcPct val="120000"/>
              </a:lnSpc>
            </a:pPr>
            <a:r>
              <a:rPr lang="en-US" dirty="0"/>
              <a:t>Date (Tahoma 14 </a:t>
            </a:r>
            <a:r>
              <a:rPr lang="en-US" dirty="0" err="1"/>
              <a:t>pt</a:t>
            </a:r>
            <a:r>
              <a:rPr lang="en-US" dirty="0"/>
              <a:t>, Light Gray)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242497" y="5119550"/>
            <a:ext cx="4819034" cy="307776"/>
          </a:xfrm>
          <a:prstGeom prst="rect">
            <a:avLst/>
          </a:prstGeom>
        </p:spPr>
        <p:txBody>
          <a:bodyPr anchor="t" anchorCtr="0"/>
          <a:lstStyle>
            <a:lvl1pPr marL="0" indent="0" algn="l" defTabSz="685800" rtl="0" eaLnBrk="1" latinLnBrk="0" hangingPunct="1">
              <a:lnSpc>
                <a:spcPct val="120000"/>
              </a:lnSpc>
              <a:buNone/>
              <a:defRPr lang="en-US" sz="1050" kern="1200" dirty="0" smtClean="0">
                <a:solidFill>
                  <a:srgbClr val="2B2A29"/>
                </a:solidFill>
                <a:latin typeface="Tahoma" panose="020B0604030504040204" pitchFamily="34" charset="0"/>
                <a:ea typeface="Tahoma"/>
                <a:cs typeface="Tahoma"/>
                <a:sym typeface="Tahoma" panose="020B060403050404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ubtitle in Title Case (Tahoma 14pt, Light Gray)</a:t>
            </a:r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1323474" y="6000653"/>
            <a:ext cx="1166123" cy="147733"/>
          </a:xfrm>
          <a:prstGeom prst="rect">
            <a:avLst/>
          </a:prstGeom>
          <a:noFill/>
        </p:spPr>
        <p:txBody>
          <a:bodyPr anchor="t" anchorCtr="0"/>
          <a:lstStyle>
            <a:lvl1pPr marL="0" algn="l" defTabSz="685800" rtl="0" eaLnBrk="1" latinLnBrk="0" hangingPunct="1">
              <a:lnSpc>
                <a:spcPct val="120000"/>
              </a:lnSpc>
              <a:buNone/>
              <a:defRPr kumimoji="0" lang="en-US" sz="600" b="0" i="0" u="none" strike="noStrike" kern="1200" cap="none" spc="0" normalizeH="0" dirty="0" smtClean="0">
                <a:ln>
                  <a:noFill/>
                </a:ln>
                <a:solidFill>
                  <a:srgbClr val="2B2A29"/>
                </a:solidFill>
                <a:effectLst/>
                <a:uLnTx/>
                <a:uFillTx/>
                <a:latin typeface="Tahoma" panose="020B0604030504040204" pitchFamily="34" charset="0"/>
                <a:ea typeface="Tahoma"/>
                <a:cs typeface="Tahoma"/>
                <a:sym typeface="Tahoma" panose="020B060403050404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171450" indent="0" algn="ctr">
              <a:buNone/>
              <a:defRPr/>
            </a:lvl4pPr>
            <a:lvl5pPr marL="342900" indent="0" algn="ctr">
              <a:buNone/>
              <a:defRPr/>
            </a:lvl5pPr>
          </a:lstStyle>
          <a:p>
            <a:pPr marL="0" marR="0" lvl="0" indent="0" algn="l" defTabSz="6858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epartment</a:t>
            </a:r>
          </a:p>
        </p:txBody>
      </p:sp>
      <p:sp>
        <p:nvSpPr>
          <p:cNvPr id="37" name="Text Placeholder 6"/>
          <p:cNvSpPr>
            <a:spLocks noGrp="1"/>
          </p:cNvSpPr>
          <p:nvPr>
            <p:ph type="body" sz="quarter" idx="14" hasCustomPrompt="1"/>
          </p:nvPr>
        </p:nvSpPr>
        <p:spPr bwMode="black">
          <a:xfrm>
            <a:off x="1323474" y="6274499"/>
            <a:ext cx="1166123" cy="147733"/>
          </a:xfrm>
          <a:prstGeom prst="rect">
            <a:avLst/>
          </a:prstGeom>
          <a:noFill/>
        </p:spPr>
        <p:txBody>
          <a:bodyPr anchor="t" anchorCtr="0"/>
          <a:lstStyle>
            <a:lvl1pPr marL="0" marR="0" indent="0" algn="l" defTabSz="6858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lang="en-US" sz="600" b="0" i="0" u="none" strike="noStrike" kern="1200" cap="none" spc="0" normalizeH="0">
                <a:ln>
                  <a:noFill/>
                </a:ln>
                <a:solidFill>
                  <a:srgbClr val="2B2A29"/>
                </a:solidFill>
                <a:effectLst/>
                <a:uLnTx/>
                <a:uFillTx/>
                <a:latin typeface="Tahoma" panose="020B0604030504040204" pitchFamily="34" charset="0"/>
                <a:ea typeface="Tahoma"/>
                <a:cs typeface="Tahoma"/>
                <a:sym typeface="Tahoma" panose="020B060403050404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171450" indent="0" algn="ctr">
              <a:buNone/>
              <a:defRPr/>
            </a:lvl4pPr>
            <a:lvl5pPr marL="342900" indent="0" algn="ctr">
              <a:buNone/>
              <a:defRPr/>
            </a:lvl5pPr>
          </a:lstStyle>
          <a:p>
            <a:pPr marL="0" marR="0" lvl="0" indent="0" algn="l" defTabSz="6858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ity</a:t>
            </a:r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1323474" y="6548344"/>
            <a:ext cx="1166123" cy="147733"/>
          </a:xfrm>
          <a:prstGeom prst="rect">
            <a:avLst/>
          </a:prstGeom>
          <a:noFill/>
        </p:spPr>
        <p:txBody>
          <a:bodyPr anchor="t" anchorCtr="0"/>
          <a:lstStyle>
            <a:lvl1pPr marL="0" marR="0" indent="0" algn="l" defTabSz="6858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lang="en-US" sz="600" b="0" i="0" u="none" strike="noStrike" kern="1200" cap="none" spc="0" normalizeH="0">
                <a:ln>
                  <a:noFill/>
                </a:ln>
                <a:solidFill>
                  <a:srgbClr val="2B2A29"/>
                </a:solidFill>
                <a:effectLst/>
                <a:uLnTx/>
                <a:uFillTx/>
                <a:latin typeface="Tahoma" panose="020B0604030504040204" pitchFamily="34" charset="0"/>
                <a:ea typeface="Tahoma"/>
                <a:cs typeface="Tahoma"/>
                <a:sym typeface="Tahoma" panose="020B060403050404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171450" indent="0" algn="ctr">
              <a:buNone/>
              <a:defRPr/>
            </a:lvl4pPr>
            <a:lvl5pPr marL="342900" indent="0" algn="ctr">
              <a:buNone/>
              <a:defRPr/>
            </a:lvl5pPr>
          </a:lstStyle>
          <a:p>
            <a:pPr marL="0" marR="0" lvl="0" indent="0" algn="l" defTabSz="6858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/>
              <a:t>Экз</a:t>
            </a:r>
            <a:r>
              <a:rPr lang="en-US" dirty="0"/>
              <a:t>. №</a:t>
            </a:r>
          </a:p>
        </p:txBody>
      </p:sp>
    </p:spTree>
    <p:extLst>
      <p:ext uri="{BB962C8B-B14F-4D97-AF65-F5344CB8AC3E}">
        <p14:creationId xmlns:p14="http://schemas.microsoft.com/office/powerpoint/2010/main" val="367789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5500252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3005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550" b="0" i="0" baseline="0" dirty="0" err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 eaLnBrk="1">
              <a:defRPr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647342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smtClean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NN Sustainability_check-point_4_14Oct2019_v12_stickers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72498" y="622800"/>
            <a:ext cx="8200013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chemeClr val="tx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cxnSp>
        <p:nvCxnSpPr>
          <p:cNvPr id="11" name="Прямая соединительная линия 34"/>
          <p:cNvCxnSpPr/>
          <p:nvPr userDrawn="1"/>
        </p:nvCxnSpPr>
        <p:spPr>
          <a:xfrm>
            <a:off x="472500" y="1149371"/>
            <a:ext cx="8199900" cy="0"/>
          </a:xfrm>
          <a:prstGeom prst="line">
            <a:avLst/>
          </a:prstGeom>
          <a:ln w="25400">
            <a:solidFill>
              <a:srgbClr val="0077C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LogoEng_vnutr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499" y="6591300"/>
            <a:ext cx="247179" cy="21047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08457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F9C6252-A023-4575-A505-45CECA1C0ACD}" type="datetimeFigureOut">
              <a:rPr lang="ru-RU" smtClean="0"/>
              <a:t>12.11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EC6F13-190F-4B44-B8A3-BE1F3F71A17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6009680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4098523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4029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 err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35208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eaLnBrk="1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 eaLnBrk="1">
              <a:defRPr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647342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472500" y="1544274"/>
            <a:ext cx="25893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2400">
                <a:solidFill>
                  <a:schemeClr val="tx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smtClean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NN Sustainability_check-point_4_14Oct2019_v12_stickers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3122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6315897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5053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4500"/>
              </a:lnSpc>
              <a:spcBef>
                <a:spcPct val="0"/>
              </a:spcBef>
              <a:spcAft>
                <a:spcPct val="0"/>
              </a:spcAft>
            </a:pPr>
            <a:endParaRPr lang="en-US" sz="4050" b="0" i="0" baseline="0" dirty="0" err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963557" y="2668041"/>
            <a:ext cx="7215368" cy="3201026"/>
          </a:xfrm>
          <a:prstGeom prst="rect">
            <a:avLst/>
          </a:prstGeom>
          <a:ln w="9525">
            <a:solidFill>
              <a:schemeClr val="bg1"/>
            </a:solidFill>
          </a:ln>
          <a:extLst/>
        </p:spPr>
        <p:txBody>
          <a:bodyPr lIns="274320" tIns="274320" rIns="274320" bIns="137160"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8375904" y="6443508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647342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963557" y="1428131"/>
            <a:ext cx="710754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eaLnBrk="1"/>
            <a:endParaRPr lang="en-US" sz="9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NN Sustainability_check-point_4_14Oct2019_v12_stickers.pptx</a:t>
            </a:r>
            <a:endParaRPr lang="en-US" sz="525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1028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1501871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6077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50" b="0" i="0" baseline="0" dirty="0" err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8375904" y="6443508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500" y="3826800"/>
            <a:ext cx="8202600" cy="2041200"/>
          </a:xfrm>
        </p:spPr>
        <p:txBody>
          <a:bodyPr anchor="t">
            <a:noAutofit/>
          </a:bodyPr>
          <a:lstStyle>
            <a:lvl1pPr>
              <a:defRPr sz="4050">
                <a:solidFill>
                  <a:schemeClr val="bg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464174" y="3680016"/>
            <a:ext cx="8682228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8739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7822720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7101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 err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3048746" y="0"/>
            <a:ext cx="312713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647342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8375904" y="6443508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3059631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eaLnBrk="1"/>
            <a:endParaRPr lang="en-US" sz="9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681103"/>
            <a:ext cx="234591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NN Sustainability_check-point_4_14Oct2019_v12_stickers.pptx</a:t>
            </a:r>
            <a:endParaRPr lang="en-US" sz="525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0692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7306337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8125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550" b="0" i="0" baseline="0" dirty="0" err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5374205" y="0"/>
            <a:ext cx="312713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537896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eaLnBrk="1"/>
            <a:endParaRPr lang="en-US" sz="9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647342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8375904" y="6443508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622800"/>
            <a:ext cx="46926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chemeClr val="tx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NN Sustainability_check-point_4_14Oct2019_v12_stickers.pptx</a:t>
            </a:r>
            <a:endParaRPr lang="en-US" sz="525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9171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3771064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149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 err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2753302" y="0"/>
            <a:ext cx="312713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681103"/>
            <a:ext cx="234591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3060573" y="-1309"/>
            <a:ext cx="6083428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eaLnBrk="1"/>
            <a:endParaRPr lang="en-US" sz="9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647342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 eaLnBrk="1">
              <a:defRPr baseline="0">
                <a:solidFill>
                  <a:schemeClr val="tx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6443508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baseline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baseline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smtClean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NN Sustainability_check-point_4_14Oct2019_v12_stickers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2986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0893423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173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300" b="0" i="0" baseline="0" dirty="0" err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4267187" y="0"/>
            <a:ext cx="312713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4572000" y="0"/>
            <a:ext cx="4572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eaLnBrk="1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569016" y="0"/>
            <a:ext cx="4574983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350" baseline="0"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72500" y="1785600"/>
            <a:ext cx="32913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6443508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baseline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 baseline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 eaLnBrk="1">
              <a:defRPr baseline="0">
                <a:solidFill>
                  <a:schemeClr val="tx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647342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smtClean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NN Sustainability_check-point_4_14Oct2019_v12_stickers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0111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4796267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1197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300" b="0" i="0" baseline="0" dirty="0" err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557387" y="0"/>
            <a:ext cx="312713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5864658" y="0"/>
            <a:ext cx="3279343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eaLnBrk="1"/>
            <a:endParaRPr lang="en-US" sz="9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865019" y="0"/>
            <a:ext cx="3278981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200">
                <a:solidFill>
                  <a:schemeClr val="tx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 eaLnBrk="1">
              <a:defRPr baseline="0">
                <a:solidFill>
                  <a:schemeClr val="tx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6473429" y="3929410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500" y="1804650"/>
            <a:ext cx="4685664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8375904" y="6443508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baseline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 baseline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smtClean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NN Sustainability_check-point_4_14Oct2019_v12_stickers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0464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7259045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2221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31478" y="3594368"/>
            <a:ext cx="1023938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143" y="1310"/>
            <a:ext cx="306623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eaLnBrk="1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647342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375904" y="6443508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72500" y="2764204"/>
            <a:ext cx="1858979" cy="1314311"/>
          </a:xfrm>
        </p:spPr>
        <p:txBody>
          <a:bodyPr anchor="ctr" anchorCtr="0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kern="1200" baseline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NN Sustainability_check-point_4_14Oct2019_v12_stickers.pptx</a:t>
            </a:r>
            <a:endParaRPr lang="en-US" sz="525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3107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0475257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3245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 err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306623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eaLnBrk="1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2764204"/>
            <a:ext cx="1858979" cy="1314311"/>
          </a:xfrm>
        </p:spPr>
        <p:txBody>
          <a:bodyPr anchor="ctr" anchorCtr="0">
            <a:noAutofit/>
          </a:bodyPr>
          <a:lstStyle>
            <a:lvl1pPr>
              <a:defRPr sz="2400" baseline="0">
                <a:solidFill>
                  <a:srgbClr val="FFFFFF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8" cstate="email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1605981" y="3402829"/>
            <a:ext cx="2021000" cy="3461745"/>
          </a:xfrm>
          <a:prstGeom prst="rect">
            <a:avLst/>
          </a:prstGeom>
        </p:spPr>
      </p:pic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750" baseline="0">
                <a:solidFill>
                  <a:schemeClr val="tx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8375904" y="6443508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baseline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baseline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647342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smtClean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NN Sustainability_check-point_4_14Oct2019_v12_stickers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7600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 NUMBER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6858000" y="6381750"/>
            <a:ext cx="2057400" cy="36512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zh-TW" dirty="0"/>
              <a:t> </a:t>
            </a:r>
            <a:fld id="{D3A58217-8532-487B-B8D5-1E79FB46E19B}" type="slidenum">
              <a:rPr lang="en-GB" altLang="zh-TW"/>
              <a:pPr>
                <a:defRPr/>
              </a:pPr>
              <a:t>‹#›</a:t>
            </a:fld>
            <a:endParaRPr lang="en-GB" altLang="zh-TW" dirty="0"/>
          </a:p>
        </p:txBody>
      </p:sp>
    </p:spTree>
    <p:extLst>
      <p:ext uri="{BB962C8B-B14F-4D97-AF65-F5344CB8AC3E}">
        <p14:creationId xmlns:p14="http://schemas.microsoft.com/office/powerpoint/2010/main" val="5622476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6135925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4269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300" b="0" i="0" baseline="0" dirty="0" err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8375904" y="6443508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647342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Copyright © 2019 by The Boston Consulting Group, Inc. All rights reserved.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00426" y="3395663"/>
            <a:ext cx="973931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1" y="0"/>
            <a:ext cx="407019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eaLnBrk="1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785600"/>
            <a:ext cx="304667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 b="0">
                <a:solidFill>
                  <a:schemeClr val="tx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NN Sustainability_check-point_4_14Oct2019_v12_stickers.pptx</a:t>
            </a:r>
            <a:endParaRPr lang="en-US" sz="525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9230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8511399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5293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300" b="0" i="0" baseline="0" dirty="0" err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407019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eaLnBrk="1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785600"/>
            <a:ext cx="304667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 b="0">
                <a:solidFill>
                  <a:srgbClr val="FFFFFF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8" cstate="email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62111" y="3416300"/>
            <a:ext cx="2021000" cy="3441700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750" baseline="0">
                <a:solidFill>
                  <a:schemeClr val="tx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8375904" y="6443508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baseline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baseline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647342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smtClean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NN Sustainability_check-point_4_14Oct2019_v12_stickers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9283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6110829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6317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550" b="0" i="0" baseline="0" dirty="0" err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647342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6443508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34068" y="3589606"/>
            <a:ext cx="1023938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0" y="0"/>
            <a:ext cx="477266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eaLnBrk="1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622800"/>
            <a:ext cx="3505235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chemeClr val="tx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NN Sustainability_check-point_4_14Oct2019_v12_stickers.pptx</a:t>
            </a:r>
            <a:endParaRPr lang="en-US" sz="525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3626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6862625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7341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550" b="0" i="0" baseline="0" dirty="0" err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477266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eaLnBrk="1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622800"/>
            <a:ext cx="3505235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rgbClr val="FFFFFF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8" cstate="email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3321316" y="3407804"/>
            <a:ext cx="2021000" cy="3456551"/>
          </a:xfrm>
          <a:prstGeom prst="rect">
            <a:avLst/>
          </a:pr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750" baseline="0">
                <a:solidFill>
                  <a:schemeClr val="tx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8375904" y="6443508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baseline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baseline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647342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smtClean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NN Sustainability_check-point_4_14Oct2019_v12_stickers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8347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8365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550" b="0" i="0" baseline="0" dirty="0" err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17756" y="3589606"/>
            <a:ext cx="1023938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633467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eaLnBrk="1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647342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6443508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622800"/>
            <a:ext cx="46926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chemeClr val="tx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NN Sustainability_check-point_4_14Oct2019_v12_stickers.pptx</a:t>
            </a:r>
            <a:endParaRPr lang="en-US" sz="525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7025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1438066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389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550" b="0" i="0" baseline="0" dirty="0" err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633467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eaLnBrk="1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622800"/>
            <a:ext cx="46926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rgbClr val="FFFFFF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750" baseline="0">
                <a:solidFill>
                  <a:schemeClr val="tx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8375904" y="6443508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baseline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baseline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647342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smtClean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NN Sustainability_check-point_4_14Oct2019_v12_stickers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8" cstate="email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893577" y="3407804"/>
            <a:ext cx="2021000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3991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4963831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413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4500"/>
              </a:lnSpc>
              <a:spcBef>
                <a:spcPct val="0"/>
              </a:spcBef>
              <a:spcAft>
                <a:spcPct val="0"/>
              </a:spcAft>
            </a:pPr>
            <a:endParaRPr lang="en-US" sz="4050" b="0" i="0" baseline="0" dirty="0" err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375904" y="6443508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647342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3826333"/>
            <a:ext cx="8199900" cy="1606550"/>
          </a:xfr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NN Sustainability_check-point_4_14Oct2019_v12_stickers.pptx</a:t>
            </a:r>
            <a:endParaRPr lang="en-US" sz="525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748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9653419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1437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4500"/>
              </a:lnSpc>
              <a:spcBef>
                <a:spcPct val="0"/>
              </a:spcBef>
              <a:spcAft>
                <a:spcPct val="0"/>
              </a:spcAft>
            </a:pPr>
            <a:endParaRPr lang="en-US" sz="4050" b="0" i="0" baseline="0" dirty="0" err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 eaLnBrk="1">
              <a:defRPr baseline="0">
                <a:solidFill>
                  <a:schemeClr val="tx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647342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472500" y="625475"/>
            <a:ext cx="699516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eaLnBrk="1"/>
            <a:endParaRPr lang="en-US" sz="9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3826333"/>
            <a:ext cx="81999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smtClean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NN Sustainability_check-point_4_14Oct2019_v12_stickers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6209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002C5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7433312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246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5001939" y="1363446"/>
            <a:ext cx="769257" cy="7514866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9144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pPr eaLnBrk="1"/>
            <a:endParaRPr lang="en-US" sz="135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375904" y="6443508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4734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rgbClr val="9D9E9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2424967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3485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550" b="0" i="0" baseline="0" dirty="0" err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 bwMode="white">
          <a:xfrm>
            <a:off x="8375904" y="6442872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647342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622800"/>
            <a:ext cx="8199900" cy="353174"/>
          </a:xfrm>
        </p:spPr>
        <p:txBody>
          <a:bodyPr/>
          <a:lstStyle>
            <a:lvl1pPr>
              <a:defRPr sz="2550">
                <a:solidFill>
                  <a:schemeClr val="bg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NN Sustainability_check-point_4_14Oct2019_v12_stickers.pptx</a:t>
            </a:r>
            <a:endParaRPr lang="en-US" sz="525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4473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 с заменямым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fix_image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78"/>
          <a:stretch/>
        </p:blipFill>
        <p:spPr>
          <a:xfrm>
            <a:off x="687600" y="343902"/>
            <a:ext cx="8456399" cy="3733171"/>
          </a:xfrm>
          <a:prstGeom prst="rect">
            <a:avLst/>
          </a:prstGeom>
        </p:spPr>
      </p:pic>
      <p:sp>
        <p:nvSpPr>
          <p:cNvPr id="13" name="smen_image" hidden="1"/>
          <p:cNvSpPr>
            <a:spLocks noGrp="1"/>
          </p:cNvSpPr>
          <p:nvPr>
            <p:ph type="pic" sz="quarter" idx="13"/>
          </p:nvPr>
        </p:nvSpPr>
        <p:spPr>
          <a:xfrm>
            <a:off x="687600" y="348342"/>
            <a:ext cx="8456399" cy="3730359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656662" y="4392033"/>
            <a:ext cx="6425379" cy="560968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1656662" y="5120006"/>
            <a:ext cx="2680963" cy="2159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ru-RU" dirty="0"/>
              <a:t>Статус реализации проекта</a:t>
            </a:r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15" hasCustomPrompt="1"/>
          </p:nvPr>
        </p:nvSpPr>
        <p:spPr>
          <a:xfrm>
            <a:off x="1656662" y="5340346"/>
            <a:ext cx="2680963" cy="21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ru-RU" baseline="0" smtClean="0">
                <a:solidFill>
                  <a:schemeClr val="accent5"/>
                </a:solidFill>
              </a:defRPr>
            </a:lvl1pPr>
          </a:lstStyle>
          <a:p>
            <a:pPr lvl="0"/>
            <a:r>
              <a:rPr lang="ru-RU" dirty="0" err="1"/>
              <a:t>дд</a:t>
            </a:r>
            <a:r>
              <a:rPr lang="ru-RU" dirty="0"/>
              <a:t>/мм/</a:t>
            </a:r>
            <a:r>
              <a:rPr lang="ru-RU" dirty="0" err="1"/>
              <a:t>гггг</a:t>
            </a:r>
            <a:endParaRPr lang="ru-RU" dirty="0"/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16" hasCustomPrompt="1"/>
          </p:nvPr>
        </p:nvSpPr>
        <p:spPr>
          <a:xfrm>
            <a:off x="1820557" y="5980903"/>
            <a:ext cx="2682000" cy="108000"/>
          </a:xfrm>
        </p:spPr>
        <p:txBody>
          <a:bodyPr vert="horz" lIns="0" tIns="0" rIns="0" bIns="0" rtlCol="0" anchor="ctr">
            <a:noAutofit/>
          </a:bodyPr>
          <a:lstStyle>
            <a:lvl1pPr>
              <a:spcBef>
                <a:spcPts val="0"/>
              </a:spcBef>
              <a:defRPr lang="ru-RU" sz="800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ru-RU" dirty="0"/>
              <a:t>Департамент</a:t>
            </a:r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7" hasCustomPrompt="1"/>
          </p:nvPr>
        </p:nvSpPr>
        <p:spPr>
          <a:xfrm>
            <a:off x="1820557" y="6100679"/>
            <a:ext cx="2682000" cy="108000"/>
          </a:xfrm>
        </p:spPr>
        <p:txBody>
          <a:bodyPr vert="horz" lIns="0" tIns="0" rIns="0" bIns="0" rtlCol="0" anchor="ctr">
            <a:noAutofit/>
          </a:bodyPr>
          <a:lstStyle>
            <a:lvl1pPr>
              <a:spcBef>
                <a:spcPts val="0"/>
              </a:spcBef>
              <a:defRPr lang="ru-RU" sz="800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ru-RU" dirty="0"/>
              <a:t>Город</a:t>
            </a:r>
          </a:p>
        </p:txBody>
      </p:sp>
      <p:sp>
        <p:nvSpPr>
          <p:cNvPr id="22" name="ekz_rus"/>
          <p:cNvSpPr>
            <a:spLocks noGrp="1"/>
          </p:cNvSpPr>
          <p:nvPr>
            <p:ph type="body" sz="quarter" idx="18" hasCustomPrompt="1"/>
          </p:nvPr>
        </p:nvSpPr>
        <p:spPr>
          <a:xfrm>
            <a:off x="1820558" y="6597650"/>
            <a:ext cx="1080000" cy="108000"/>
          </a:xfrm>
        </p:spPr>
        <p:txBody>
          <a:bodyPr vert="horz" lIns="0" tIns="0" rIns="0" bIns="0" rtlCol="0" anchor="ctr">
            <a:noAutofit/>
          </a:bodyPr>
          <a:lstStyle>
            <a:lvl1pPr>
              <a:spcBef>
                <a:spcPts val="0"/>
              </a:spcBef>
              <a:defRPr lang="ru-RU" sz="800" baseline="0" smtClean="0">
                <a:solidFill>
                  <a:schemeClr val="accent5"/>
                </a:solidFill>
              </a:defRPr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/>
              <a:t>Экз. №</a:t>
            </a:r>
            <a:endParaRPr lang="ru-RU" dirty="0"/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1663843" y="5997476"/>
            <a:ext cx="0" cy="70560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52561"/>
          <a:stretch/>
        </p:blipFill>
        <p:spPr>
          <a:xfrm>
            <a:off x="6355501" y="3356993"/>
            <a:ext cx="2800232" cy="720080"/>
          </a:xfrm>
          <a:prstGeom prst="rect">
            <a:avLst/>
          </a:prstGeom>
        </p:spPr>
      </p:pic>
      <p:pic>
        <p:nvPicPr>
          <p:cNvPr id="21" name="LogoRus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27035" y="3510542"/>
            <a:ext cx="2055306" cy="432000"/>
          </a:xfrm>
          <a:prstGeom prst="rect">
            <a:avLst/>
          </a:prstGeom>
        </p:spPr>
      </p:pic>
      <p:pic>
        <p:nvPicPr>
          <p:cNvPr id="23" name="LogoEng" hidden="1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27035" y="3510542"/>
            <a:ext cx="1931804" cy="432000"/>
          </a:xfrm>
          <a:prstGeom prst="rect">
            <a:avLst/>
          </a:prstGeom>
        </p:spPr>
      </p:pic>
      <p:sp>
        <p:nvSpPr>
          <p:cNvPr id="24" name="com_taina1_rus" hidden="1"/>
          <p:cNvSpPr txBox="1"/>
          <p:nvPr/>
        </p:nvSpPr>
        <p:spPr>
          <a:xfrm>
            <a:off x="1821600" y="6472800"/>
            <a:ext cx="1747273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ru-RU" sz="800" b="1" dirty="0">
                <a:solidFill>
                  <a:schemeClr val="accent1"/>
                </a:solidFill>
              </a:rPr>
              <a:t>Коммерческая тайна (1 категория)</a:t>
            </a:r>
          </a:p>
        </p:txBody>
      </p:sp>
      <p:sp>
        <p:nvSpPr>
          <p:cNvPr id="26" name="com_taina_rus" hidden="1"/>
          <p:cNvSpPr txBox="1"/>
          <p:nvPr/>
        </p:nvSpPr>
        <p:spPr>
          <a:xfrm>
            <a:off x="1821600" y="6472800"/>
            <a:ext cx="105798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800" b="1" dirty="0">
                <a:solidFill>
                  <a:schemeClr val="accent1"/>
                </a:solidFill>
              </a:rPr>
              <a:t>Коммерческая тайна</a:t>
            </a:r>
          </a:p>
        </p:txBody>
      </p:sp>
      <p:sp>
        <p:nvSpPr>
          <p:cNvPr id="27" name="com_taina1_eng" hidden="1"/>
          <p:cNvSpPr txBox="1"/>
          <p:nvPr/>
        </p:nvSpPr>
        <p:spPr>
          <a:xfrm>
            <a:off x="1821600" y="6472800"/>
            <a:ext cx="128400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800" b="1" dirty="0">
                <a:solidFill>
                  <a:schemeClr val="accent1"/>
                </a:solidFill>
              </a:rPr>
              <a:t>Trade secret </a:t>
            </a:r>
            <a:r>
              <a:rPr lang="ru-RU" sz="800" b="1" dirty="0">
                <a:solidFill>
                  <a:schemeClr val="accent1"/>
                </a:solidFill>
              </a:rPr>
              <a:t> (1 </a:t>
            </a:r>
            <a:r>
              <a:rPr lang="en-US" sz="800" b="1" dirty="0">
                <a:solidFill>
                  <a:schemeClr val="accent1"/>
                </a:solidFill>
              </a:rPr>
              <a:t>category</a:t>
            </a:r>
            <a:r>
              <a:rPr lang="ru-RU" sz="800" b="1" dirty="0">
                <a:solidFill>
                  <a:schemeClr val="accent1"/>
                </a:solidFill>
              </a:rPr>
              <a:t>)</a:t>
            </a:r>
          </a:p>
        </p:txBody>
      </p:sp>
      <p:sp>
        <p:nvSpPr>
          <p:cNvPr id="28" name="com_taina_eng" hidden="1"/>
          <p:cNvSpPr txBox="1"/>
          <p:nvPr/>
        </p:nvSpPr>
        <p:spPr>
          <a:xfrm>
            <a:off x="1821600" y="6472800"/>
            <a:ext cx="61395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sz="800" b="1" dirty="0">
                <a:solidFill>
                  <a:schemeClr val="accent1"/>
                </a:solidFill>
              </a:rPr>
              <a:t>Trade secret</a:t>
            </a:r>
            <a:endParaRPr lang="ru-RU" sz="800" b="1" dirty="0">
              <a:solidFill>
                <a:schemeClr val="accent1"/>
              </a:solidFill>
            </a:endParaRPr>
          </a:p>
        </p:txBody>
      </p:sp>
      <p:sp>
        <p:nvSpPr>
          <p:cNvPr id="29" name="ekz_eng" hidden="1"/>
          <p:cNvSpPr>
            <a:spLocks noGrp="1"/>
          </p:cNvSpPr>
          <p:nvPr>
            <p:ph type="body" sz="quarter" idx="19" hasCustomPrompt="1"/>
          </p:nvPr>
        </p:nvSpPr>
        <p:spPr>
          <a:xfrm>
            <a:off x="1820558" y="6597650"/>
            <a:ext cx="1080000" cy="108000"/>
          </a:xfrm>
        </p:spPr>
        <p:txBody>
          <a:bodyPr vert="horz" lIns="0" tIns="0" rIns="0" bIns="0" rtlCol="0" anchor="ctr">
            <a:noAutofit/>
          </a:bodyPr>
          <a:lstStyle>
            <a:lvl1pPr>
              <a:spcBef>
                <a:spcPts val="0"/>
              </a:spcBef>
              <a:defRPr lang="ru-RU" sz="800" baseline="0" smtClean="0">
                <a:solidFill>
                  <a:schemeClr val="accent5"/>
                </a:solidFill>
              </a:defRPr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en-US" dirty="0"/>
              <a:t>Ex</a:t>
            </a:r>
            <a:r>
              <a:rPr lang="ru-RU" dirty="0"/>
              <a:t>. №</a:t>
            </a:r>
          </a:p>
        </p:txBody>
      </p:sp>
    </p:spTree>
    <p:extLst>
      <p:ext uri="{BB962C8B-B14F-4D97-AF65-F5344CB8AC3E}">
        <p14:creationId xmlns:p14="http://schemas.microsoft.com/office/powerpoint/2010/main" val="4287308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9568908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4509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 eaLnBrk="1">
              <a:defRPr baseline="0">
                <a:solidFill>
                  <a:schemeClr val="tx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647342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smtClean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NN Sustainability_check-point_4_14Oct2019_v12_stickers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819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7316861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5533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8375904" y="6442872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647342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NN Sustainability_check-point_4_14Oct2019_v12_stickers.pptx</a:t>
            </a:r>
            <a:endParaRPr lang="en-US" sz="525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2126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3546893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6557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647342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smtClean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NN Sustainability_check-point_4_14Oct2019_v12_stickers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8357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5397036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758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oup 4"/>
          <p:cNvGrpSpPr>
            <a:grpSpLocks noChangeAspect="1"/>
          </p:cNvGrpSpPr>
          <p:nvPr userDrawn="1"/>
        </p:nvGrpSpPr>
        <p:grpSpPr bwMode="auto">
          <a:xfrm>
            <a:off x="694568" y="2722052"/>
            <a:ext cx="3278358" cy="1344304"/>
            <a:chOff x="585" y="2014"/>
            <a:chExt cx="5583" cy="1717"/>
          </a:xfrm>
          <a:solidFill>
            <a:schemeClr val="bg1"/>
          </a:solidFill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585" y="2014"/>
              <a:ext cx="2558" cy="1055"/>
            </a:xfrm>
            <a:custGeom>
              <a:avLst/>
              <a:gdLst>
                <a:gd name="T0" fmla="*/ 123 w 1081"/>
                <a:gd name="T1" fmla="*/ 32 h 445"/>
                <a:gd name="T2" fmla="*/ 171 w 1081"/>
                <a:gd name="T3" fmla="*/ 25 h 445"/>
                <a:gd name="T4" fmla="*/ 150 w 1081"/>
                <a:gd name="T5" fmla="*/ 204 h 445"/>
                <a:gd name="T6" fmla="*/ 189 w 1081"/>
                <a:gd name="T7" fmla="*/ 420 h 445"/>
                <a:gd name="T8" fmla="*/ 123 w 1081"/>
                <a:gd name="T9" fmla="*/ 219 h 445"/>
                <a:gd name="T10" fmla="*/ 293 w 1081"/>
                <a:gd name="T11" fmla="*/ 318 h 445"/>
                <a:gd name="T12" fmla="*/ 905 w 1081"/>
                <a:gd name="T13" fmla="*/ 248 h 445"/>
                <a:gd name="T14" fmla="*/ 910 w 1081"/>
                <a:gd name="T15" fmla="*/ 260 h 445"/>
                <a:gd name="T16" fmla="*/ 974 w 1081"/>
                <a:gd name="T17" fmla="*/ 360 h 445"/>
                <a:gd name="T18" fmla="*/ 756 w 1081"/>
                <a:gd name="T19" fmla="*/ 226 h 445"/>
                <a:gd name="T20" fmla="*/ 1000 w 1081"/>
                <a:gd name="T21" fmla="*/ 127 h 445"/>
                <a:gd name="T22" fmla="*/ 1011 w 1081"/>
                <a:gd name="T23" fmla="*/ 132 h 445"/>
                <a:gd name="T24" fmla="*/ 1006 w 1081"/>
                <a:gd name="T25" fmla="*/ 4 h 445"/>
                <a:gd name="T26" fmla="*/ 994 w 1081"/>
                <a:gd name="T27" fmla="*/ 39 h 445"/>
                <a:gd name="T28" fmla="*/ 882 w 1081"/>
                <a:gd name="T29" fmla="*/ 0 h 445"/>
                <a:gd name="T30" fmla="*/ 686 w 1081"/>
                <a:gd name="T31" fmla="*/ 286 h 445"/>
                <a:gd name="T32" fmla="*/ 563 w 1081"/>
                <a:gd name="T33" fmla="*/ 429 h 445"/>
                <a:gd name="T34" fmla="*/ 554 w 1081"/>
                <a:gd name="T35" fmla="*/ 16 h 445"/>
                <a:gd name="T36" fmla="*/ 667 w 1081"/>
                <a:gd name="T37" fmla="*/ 109 h 445"/>
                <a:gd name="T38" fmla="*/ 672 w 1081"/>
                <a:gd name="T39" fmla="*/ 4 h 445"/>
                <a:gd name="T40" fmla="*/ 661 w 1081"/>
                <a:gd name="T41" fmla="*/ 7 h 445"/>
                <a:gd name="T42" fmla="*/ 655 w 1081"/>
                <a:gd name="T43" fmla="*/ 38 h 445"/>
                <a:gd name="T44" fmla="*/ 348 w 1081"/>
                <a:gd name="T45" fmla="*/ 227 h 445"/>
                <a:gd name="T46" fmla="*/ 349 w 1081"/>
                <a:gd name="T47" fmla="*/ 261 h 445"/>
                <a:gd name="T48" fmla="*/ 220 w 1081"/>
                <a:gd name="T49" fmla="*/ 206 h 445"/>
                <a:gd name="T50" fmla="*/ 168 w 1081"/>
                <a:gd name="T51" fmla="*/ 8 h 445"/>
                <a:gd name="T52" fmla="*/ 0 w 1081"/>
                <a:gd name="T53" fmla="*/ 8 h 445"/>
                <a:gd name="T54" fmla="*/ 4 w 1081"/>
                <a:gd name="T55" fmla="*/ 21 h 445"/>
                <a:gd name="T56" fmla="*/ 55 w 1081"/>
                <a:gd name="T57" fmla="*/ 336 h 445"/>
                <a:gd name="T58" fmla="*/ 0 w 1081"/>
                <a:gd name="T59" fmla="*/ 430 h 445"/>
                <a:gd name="T60" fmla="*/ 88 w 1081"/>
                <a:gd name="T61" fmla="*/ 435 h 445"/>
                <a:gd name="T62" fmla="*/ 366 w 1081"/>
                <a:gd name="T63" fmla="*/ 323 h 445"/>
                <a:gd name="T64" fmla="*/ 561 w 1081"/>
                <a:gd name="T65" fmla="*/ 445 h 445"/>
                <a:gd name="T66" fmla="*/ 679 w 1081"/>
                <a:gd name="T67" fmla="*/ 405 h 445"/>
                <a:gd name="T68" fmla="*/ 691 w 1081"/>
                <a:gd name="T69" fmla="*/ 441 h 445"/>
                <a:gd name="T70" fmla="*/ 696 w 1081"/>
                <a:gd name="T71" fmla="*/ 321 h 445"/>
                <a:gd name="T72" fmla="*/ 886 w 1081"/>
                <a:gd name="T73" fmla="*/ 445 h 445"/>
                <a:gd name="T74" fmla="*/ 1041 w 1081"/>
                <a:gd name="T75" fmla="*/ 387 h 445"/>
                <a:gd name="T76" fmla="*/ 1040 w 1081"/>
                <a:gd name="T77" fmla="*/ 323 h 445"/>
                <a:gd name="T78" fmla="*/ 1081 w 1081"/>
                <a:gd name="T79" fmla="*/ 255 h 445"/>
                <a:gd name="T80" fmla="*/ 1002 w 1081"/>
                <a:gd name="T81" fmla="*/ 249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81" h="445">
                  <a:moveTo>
                    <a:pt x="123" y="204"/>
                  </a:moveTo>
                  <a:cubicBezTo>
                    <a:pt x="123" y="32"/>
                    <a:pt x="123" y="32"/>
                    <a:pt x="123" y="32"/>
                  </a:cubicBezTo>
                  <a:cubicBezTo>
                    <a:pt x="123" y="28"/>
                    <a:pt x="124" y="27"/>
                    <a:pt x="130" y="26"/>
                  </a:cubicBezTo>
                  <a:cubicBezTo>
                    <a:pt x="139" y="25"/>
                    <a:pt x="161" y="25"/>
                    <a:pt x="171" y="25"/>
                  </a:cubicBezTo>
                  <a:cubicBezTo>
                    <a:pt x="223" y="25"/>
                    <a:pt x="257" y="56"/>
                    <a:pt x="257" y="115"/>
                  </a:cubicBezTo>
                  <a:cubicBezTo>
                    <a:pt x="257" y="180"/>
                    <a:pt x="217" y="204"/>
                    <a:pt x="150" y="204"/>
                  </a:cubicBezTo>
                  <a:lnTo>
                    <a:pt x="123" y="204"/>
                  </a:lnTo>
                  <a:close/>
                  <a:moveTo>
                    <a:pt x="189" y="420"/>
                  </a:moveTo>
                  <a:cubicBezTo>
                    <a:pt x="132" y="420"/>
                    <a:pt x="123" y="411"/>
                    <a:pt x="123" y="332"/>
                  </a:cubicBezTo>
                  <a:cubicBezTo>
                    <a:pt x="123" y="219"/>
                    <a:pt x="123" y="219"/>
                    <a:pt x="123" y="219"/>
                  </a:cubicBezTo>
                  <a:cubicBezTo>
                    <a:pt x="149" y="219"/>
                    <a:pt x="149" y="219"/>
                    <a:pt x="149" y="219"/>
                  </a:cubicBezTo>
                  <a:cubicBezTo>
                    <a:pt x="224" y="219"/>
                    <a:pt x="293" y="237"/>
                    <a:pt x="293" y="318"/>
                  </a:cubicBezTo>
                  <a:cubicBezTo>
                    <a:pt x="293" y="382"/>
                    <a:pt x="255" y="420"/>
                    <a:pt x="189" y="420"/>
                  </a:cubicBezTo>
                  <a:close/>
                  <a:moveTo>
                    <a:pt x="905" y="248"/>
                  </a:moveTo>
                  <a:cubicBezTo>
                    <a:pt x="905" y="255"/>
                    <a:pt x="905" y="255"/>
                    <a:pt x="905" y="255"/>
                  </a:cubicBezTo>
                  <a:cubicBezTo>
                    <a:pt x="905" y="258"/>
                    <a:pt x="906" y="260"/>
                    <a:pt x="910" y="260"/>
                  </a:cubicBezTo>
                  <a:cubicBezTo>
                    <a:pt x="974" y="262"/>
                    <a:pt x="974" y="269"/>
                    <a:pt x="974" y="319"/>
                  </a:cubicBezTo>
                  <a:cubicBezTo>
                    <a:pt x="974" y="360"/>
                    <a:pt x="974" y="360"/>
                    <a:pt x="974" y="360"/>
                  </a:cubicBezTo>
                  <a:cubicBezTo>
                    <a:pt x="974" y="402"/>
                    <a:pt x="946" y="429"/>
                    <a:pt x="890" y="429"/>
                  </a:cubicBezTo>
                  <a:cubicBezTo>
                    <a:pt x="796" y="429"/>
                    <a:pt x="756" y="339"/>
                    <a:pt x="756" y="226"/>
                  </a:cubicBezTo>
                  <a:cubicBezTo>
                    <a:pt x="756" y="119"/>
                    <a:pt x="785" y="16"/>
                    <a:pt x="888" y="16"/>
                  </a:cubicBezTo>
                  <a:cubicBezTo>
                    <a:pt x="947" y="16"/>
                    <a:pt x="996" y="56"/>
                    <a:pt x="1000" y="127"/>
                  </a:cubicBezTo>
                  <a:cubicBezTo>
                    <a:pt x="1000" y="132"/>
                    <a:pt x="1002" y="132"/>
                    <a:pt x="1005" y="132"/>
                  </a:cubicBezTo>
                  <a:cubicBezTo>
                    <a:pt x="1011" y="132"/>
                    <a:pt x="1011" y="132"/>
                    <a:pt x="1011" y="132"/>
                  </a:cubicBezTo>
                  <a:cubicBezTo>
                    <a:pt x="1011" y="103"/>
                    <a:pt x="1010" y="34"/>
                    <a:pt x="1010" y="4"/>
                  </a:cubicBezTo>
                  <a:cubicBezTo>
                    <a:pt x="1006" y="4"/>
                    <a:pt x="1006" y="4"/>
                    <a:pt x="1006" y="4"/>
                  </a:cubicBezTo>
                  <a:cubicBezTo>
                    <a:pt x="1002" y="4"/>
                    <a:pt x="1000" y="5"/>
                    <a:pt x="1000" y="7"/>
                  </a:cubicBezTo>
                  <a:cubicBezTo>
                    <a:pt x="994" y="39"/>
                    <a:pt x="994" y="39"/>
                    <a:pt x="994" y="39"/>
                  </a:cubicBezTo>
                  <a:cubicBezTo>
                    <a:pt x="993" y="39"/>
                    <a:pt x="993" y="39"/>
                    <a:pt x="993" y="39"/>
                  </a:cubicBezTo>
                  <a:cubicBezTo>
                    <a:pt x="964" y="12"/>
                    <a:pt x="921" y="0"/>
                    <a:pt x="882" y="0"/>
                  </a:cubicBezTo>
                  <a:cubicBezTo>
                    <a:pt x="760" y="0"/>
                    <a:pt x="680" y="103"/>
                    <a:pt x="680" y="227"/>
                  </a:cubicBezTo>
                  <a:cubicBezTo>
                    <a:pt x="680" y="248"/>
                    <a:pt x="682" y="268"/>
                    <a:pt x="686" y="286"/>
                  </a:cubicBezTo>
                  <a:cubicBezTo>
                    <a:pt x="685" y="304"/>
                    <a:pt x="685" y="304"/>
                    <a:pt x="685" y="304"/>
                  </a:cubicBezTo>
                  <a:cubicBezTo>
                    <a:pt x="678" y="399"/>
                    <a:pt x="622" y="429"/>
                    <a:pt x="563" y="429"/>
                  </a:cubicBezTo>
                  <a:cubicBezTo>
                    <a:pt x="469" y="429"/>
                    <a:pt x="424" y="343"/>
                    <a:pt x="424" y="226"/>
                  </a:cubicBezTo>
                  <a:cubicBezTo>
                    <a:pt x="424" y="119"/>
                    <a:pt x="451" y="16"/>
                    <a:pt x="554" y="16"/>
                  </a:cubicBezTo>
                  <a:cubicBezTo>
                    <a:pt x="606" y="16"/>
                    <a:pt x="651" y="49"/>
                    <a:pt x="661" y="104"/>
                  </a:cubicBezTo>
                  <a:cubicBezTo>
                    <a:pt x="662" y="109"/>
                    <a:pt x="663" y="109"/>
                    <a:pt x="667" y="109"/>
                  </a:cubicBezTo>
                  <a:cubicBezTo>
                    <a:pt x="673" y="109"/>
                    <a:pt x="673" y="109"/>
                    <a:pt x="673" y="109"/>
                  </a:cubicBezTo>
                  <a:cubicBezTo>
                    <a:pt x="672" y="80"/>
                    <a:pt x="672" y="34"/>
                    <a:pt x="672" y="4"/>
                  </a:cubicBezTo>
                  <a:cubicBezTo>
                    <a:pt x="668" y="4"/>
                    <a:pt x="668" y="4"/>
                    <a:pt x="668" y="4"/>
                  </a:cubicBezTo>
                  <a:cubicBezTo>
                    <a:pt x="663" y="4"/>
                    <a:pt x="662" y="5"/>
                    <a:pt x="661" y="7"/>
                  </a:cubicBezTo>
                  <a:cubicBezTo>
                    <a:pt x="655" y="38"/>
                    <a:pt x="655" y="38"/>
                    <a:pt x="655" y="38"/>
                  </a:cubicBezTo>
                  <a:cubicBezTo>
                    <a:pt x="655" y="38"/>
                    <a:pt x="655" y="38"/>
                    <a:pt x="655" y="38"/>
                  </a:cubicBezTo>
                  <a:cubicBezTo>
                    <a:pt x="626" y="12"/>
                    <a:pt x="585" y="0"/>
                    <a:pt x="546" y="0"/>
                  </a:cubicBezTo>
                  <a:cubicBezTo>
                    <a:pt x="427" y="0"/>
                    <a:pt x="348" y="103"/>
                    <a:pt x="348" y="227"/>
                  </a:cubicBezTo>
                  <a:cubicBezTo>
                    <a:pt x="348" y="239"/>
                    <a:pt x="349" y="250"/>
                    <a:pt x="351" y="261"/>
                  </a:cubicBezTo>
                  <a:cubicBezTo>
                    <a:pt x="349" y="261"/>
                    <a:pt x="349" y="261"/>
                    <a:pt x="349" y="261"/>
                  </a:cubicBezTo>
                  <a:cubicBezTo>
                    <a:pt x="325" y="227"/>
                    <a:pt x="278" y="210"/>
                    <a:pt x="220" y="207"/>
                  </a:cubicBezTo>
                  <a:cubicBezTo>
                    <a:pt x="220" y="206"/>
                    <a:pt x="220" y="206"/>
                    <a:pt x="220" y="206"/>
                  </a:cubicBezTo>
                  <a:cubicBezTo>
                    <a:pt x="283" y="194"/>
                    <a:pt x="325" y="162"/>
                    <a:pt x="325" y="109"/>
                  </a:cubicBezTo>
                  <a:cubicBezTo>
                    <a:pt x="325" y="29"/>
                    <a:pt x="238" y="8"/>
                    <a:pt x="168" y="8"/>
                  </a:cubicBezTo>
                  <a:cubicBezTo>
                    <a:pt x="149" y="8"/>
                    <a:pt x="106" y="10"/>
                    <a:pt x="93" y="10"/>
                  </a:cubicBezTo>
                  <a:cubicBezTo>
                    <a:pt x="62" y="10"/>
                    <a:pt x="29" y="9"/>
                    <a:pt x="0" y="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9"/>
                    <a:pt x="1" y="21"/>
                    <a:pt x="4" y="21"/>
                  </a:cubicBezTo>
                  <a:cubicBezTo>
                    <a:pt x="55" y="23"/>
                    <a:pt x="55" y="30"/>
                    <a:pt x="55" y="109"/>
                  </a:cubicBezTo>
                  <a:cubicBezTo>
                    <a:pt x="55" y="336"/>
                    <a:pt x="55" y="336"/>
                    <a:pt x="55" y="336"/>
                  </a:cubicBezTo>
                  <a:cubicBezTo>
                    <a:pt x="55" y="415"/>
                    <a:pt x="55" y="422"/>
                    <a:pt x="5" y="424"/>
                  </a:cubicBezTo>
                  <a:cubicBezTo>
                    <a:pt x="1" y="424"/>
                    <a:pt x="0" y="426"/>
                    <a:pt x="0" y="430"/>
                  </a:cubicBezTo>
                  <a:cubicBezTo>
                    <a:pt x="0" y="436"/>
                    <a:pt x="0" y="436"/>
                    <a:pt x="0" y="436"/>
                  </a:cubicBezTo>
                  <a:cubicBezTo>
                    <a:pt x="30" y="436"/>
                    <a:pt x="58" y="435"/>
                    <a:pt x="88" y="435"/>
                  </a:cubicBezTo>
                  <a:cubicBezTo>
                    <a:pt x="126" y="435"/>
                    <a:pt x="142" y="436"/>
                    <a:pt x="192" y="436"/>
                  </a:cubicBezTo>
                  <a:cubicBezTo>
                    <a:pt x="297" y="436"/>
                    <a:pt x="361" y="387"/>
                    <a:pt x="366" y="323"/>
                  </a:cubicBezTo>
                  <a:cubicBezTo>
                    <a:pt x="367" y="323"/>
                    <a:pt x="367" y="323"/>
                    <a:pt x="367" y="323"/>
                  </a:cubicBezTo>
                  <a:cubicBezTo>
                    <a:pt x="399" y="398"/>
                    <a:pt x="469" y="445"/>
                    <a:pt x="561" y="445"/>
                  </a:cubicBezTo>
                  <a:cubicBezTo>
                    <a:pt x="605" y="445"/>
                    <a:pt x="645" y="431"/>
                    <a:pt x="678" y="405"/>
                  </a:cubicBezTo>
                  <a:cubicBezTo>
                    <a:pt x="679" y="405"/>
                    <a:pt x="679" y="405"/>
                    <a:pt x="679" y="405"/>
                  </a:cubicBezTo>
                  <a:cubicBezTo>
                    <a:pt x="684" y="438"/>
                    <a:pt x="684" y="438"/>
                    <a:pt x="684" y="438"/>
                  </a:cubicBezTo>
                  <a:cubicBezTo>
                    <a:pt x="685" y="440"/>
                    <a:pt x="687" y="441"/>
                    <a:pt x="691" y="441"/>
                  </a:cubicBezTo>
                  <a:cubicBezTo>
                    <a:pt x="695" y="441"/>
                    <a:pt x="695" y="441"/>
                    <a:pt x="695" y="441"/>
                  </a:cubicBezTo>
                  <a:cubicBezTo>
                    <a:pt x="695" y="420"/>
                    <a:pt x="696" y="363"/>
                    <a:pt x="696" y="321"/>
                  </a:cubicBezTo>
                  <a:cubicBezTo>
                    <a:pt x="697" y="321"/>
                    <a:pt x="697" y="321"/>
                    <a:pt x="697" y="321"/>
                  </a:cubicBezTo>
                  <a:cubicBezTo>
                    <a:pt x="729" y="399"/>
                    <a:pt x="800" y="445"/>
                    <a:pt x="886" y="445"/>
                  </a:cubicBezTo>
                  <a:cubicBezTo>
                    <a:pt x="970" y="445"/>
                    <a:pt x="1001" y="393"/>
                    <a:pt x="1037" y="393"/>
                  </a:cubicBezTo>
                  <a:cubicBezTo>
                    <a:pt x="1040" y="393"/>
                    <a:pt x="1041" y="392"/>
                    <a:pt x="1041" y="387"/>
                  </a:cubicBezTo>
                  <a:cubicBezTo>
                    <a:pt x="1041" y="380"/>
                    <a:pt x="1040" y="362"/>
                    <a:pt x="1040" y="351"/>
                  </a:cubicBezTo>
                  <a:cubicBezTo>
                    <a:pt x="1040" y="323"/>
                    <a:pt x="1040" y="323"/>
                    <a:pt x="1040" y="323"/>
                  </a:cubicBezTo>
                  <a:cubicBezTo>
                    <a:pt x="1040" y="269"/>
                    <a:pt x="1040" y="262"/>
                    <a:pt x="1076" y="260"/>
                  </a:cubicBezTo>
                  <a:cubicBezTo>
                    <a:pt x="1081" y="260"/>
                    <a:pt x="1081" y="258"/>
                    <a:pt x="1081" y="255"/>
                  </a:cubicBezTo>
                  <a:cubicBezTo>
                    <a:pt x="1081" y="248"/>
                    <a:pt x="1081" y="248"/>
                    <a:pt x="1081" y="248"/>
                  </a:cubicBezTo>
                  <a:cubicBezTo>
                    <a:pt x="1052" y="248"/>
                    <a:pt x="1032" y="249"/>
                    <a:pt x="1002" y="249"/>
                  </a:cubicBezTo>
                  <a:cubicBezTo>
                    <a:pt x="971" y="249"/>
                    <a:pt x="934" y="248"/>
                    <a:pt x="905" y="2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350" dirty="0">
                <a:solidFill>
                  <a:srgbClr val="6E6F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1475" y="3449"/>
              <a:ext cx="4693" cy="282"/>
            </a:xfrm>
            <a:custGeom>
              <a:avLst/>
              <a:gdLst>
                <a:gd name="T0" fmla="*/ 101 w 1984"/>
                <a:gd name="T1" fmla="*/ 32 h 119"/>
                <a:gd name="T2" fmla="*/ 43 w 1984"/>
                <a:gd name="T3" fmla="*/ 12 h 119"/>
                <a:gd name="T4" fmla="*/ 355 w 1984"/>
                <a:gd name="T5" fmla="*/ 29 h 119"/>
                <a:gd name="T6" fmla="*/ 274 w 1984"/>
                <a:gd name="T7" fmla="*/ 117 h 119"/>
                <a:gd name="T8" fmla="*/ 340 w 1984"/>
                <a:gd name="T9" fmla="*/ 31 h 119"/>
                <a:gd name="T10" fmla="*/ 869 w 1984"/>
                <a:gd name="T11" fmla="*/ 82 h 119"/>
                <a:gd name="T12" fmla="*/ 861 w 1984"/>
                <a:gd name="T13" fmla="*/ 6 h 119"/>
                <a:gd name="T14" fmla="*/ 153 w 1984"/>
                <a:gd name="T15" fmla="*/ 117 h 119"/>
                <a:gd name="T16" fmla="*/ 121 w 1984"/>
                <a:gd name="T17" fmla="*/ 117 h 119"/>
                <a:gd name="T18" fmla="*/ 103 w 1984"/>
                <a:gd name="T19" fmla="*/ 38 h 119"/>
                <a:gd name="T20" fmla="*/ 135 w 1984"/>
                <a:gd name="T21" fmla="*/ 38 h 119"/>
                <a:gd name="T22" fmla="*/ 153 w 1984"/>
                <a:gd name="T23" fmla="*/ 117 h 119"/>
                <a:gd name="T24" fmla="*/ 177 w 1984"/>
                <a:gd name="T25" fmla="*/ 38 h 119"/>
                <a:gd name="T26" fmla="*/ 201 w 1984"/>
                <a:gd name="T27" fmla="*/ 73 h 119"/>
                <a:gd name="T28" fmla="*/ 201 w 1984"/>
                <a:gd name="T29" fmla="*/ 78 h 119"/>
                <a:gd name="T30" fmla="*/ 374 w 1984"/>
                <a:gd name="T31" fmla="*/ 79 h 119"/>
                <a:gd name="T32" fmla="*/ 461 w 1984"/>
                <a:gd name="T33" fmla="*/ 117 h 119"/>
                <a:gd name="T34" fmla="*/ 497 w 1984"/>
                <a:gd name="T35" fmla="*/ 41 h 119"/>
                <a:gd name="T36" fmla="*/ 481 w 1984"/>
                <a:gd name="T37" fmla="*/ 119 h 119"/>
                <a:gd name="T38" fmla="*/ 515 w 1984"/>
                <a:gd name="T39" fmla="*/ 61 h 119"/>
                <a:gd name="T40" fmla="*/ 561 w 1984"/>
                <a:gd name="T41" fmla="*/ 44 h 119"/>
                <a:gd name="T42" fmla="*/ 622 w 1984"/>
                <a:gd name="T43" fmla="*/ 36 h 119"/>
                <a:gd name="T44" fmla="*/ 684 w 1984"/>
                <a:gd name="T45" fmla="*/ 53 h 119"/>
                <a:gd name="T46" fmla="*/ 675 w 1984"/>
                <a:gd name="T47" fmla="*/ 84 h 119"/>
                <a:gd name="T48" fmla="*/ 716 w 1984"/>
                <a:gd name="T49" fmla="*/ 43 h 119"/>
                <a:gd name="T50" fmla="*/ 921 w 1984"/>
                <a:gd name="T51" fmla="*/ 119 h 119"/>
                <a:gd name="T52" fmla="*/ 1029 w 1984"/>
                <a:gd name="T53" fmla="*/ 119 h 119"/>
                <a:gd name="T54" fmla="*/ 963 w 1984"/>
                <a:gd name="T55" fmla="*/ 113 h 119"/>
                <a:gd name="T56" fmla="*/ 1030 w 1984"/>
                <a:gd name="T57" fmla="*/ 96 h 119"/>
                <a:gd name="T58" fmla="*/ 1038 w 1984"/>
                <a:gd name="T59" fmla="*/ 119 h 119"/>
                <a:gd name="T60" fmla="*/ 1097 w 1984"/>
                <a:gd name="T61" fmla="*/ 101 h 119"/>
                <a:gd name="T62" fmla="*/ 1080 w 1984"/>
                <a:gd name="T63" fmla="*/ 43 h 119"/>
                <a:gd name="T64" fmla="*/ 1111 w 1984"/>
                <a:gd name="T65" fmla="*/ 38 h 119"/>
                <a:gd name="T66" fmla="*/ 1163 w 1984"/>
                <a:gd name="T67" fmla="*/ 43 h 119"/>
                <a:gd name="T68" fmla="*/ 1243 w 1984"/>
                <a:gd name="T69" fmla="*/ 117 h 119"/>
                <a:gd name="T70" fmla="*/ 1217 w 1984"/>
                <a:gd name="T71" fmla="*/ 38 h 119"/>
                <a:gd name="T72" fmla="*/ 1261 w 1984"/>
                <a:gd name="T73" fmla="*/ 91 h 119"/>
                <a:gd name="T74" fmla="*/ 1276 w 1984"/>
                <a:gd name="T75" fmla="*/ 44 h 119"/>
                <a:gd name="T76" fmla="*/ 1322 w 1984"/>
                <a:gd name="T77" fmla="*/ 61 h 119"/>
                <a:gd name="T78" fmla="*/ 1331 w 1984"/>
                <a:gd name="T79" fmla="*/ 117 h 119"/>
                <a:gd name="T80" fmla="*/ 1367 w 1984"/>
                <a:gd name="T81" fmla="*/ 42 h 119"/>
                <a:gd name="T82" fmla="*/ 1392 w 1984"/>
                <a:gd name="T83" fmla="*/ 53 h 119"/>
                <a:gd name="T84" fmla="*/ 1383 w 1984"/>
                <a:gd name="T85" fmla="*/ 84 h 119"/>
                <a:gd name="T86" fmla="*/ 1424 w 1984"/>
                <a:gd name="T87" fmla="*/ 42 h 119"/>
                <a:gd name="T88" fmla="*/ 1536 w 1984"/>
                <a:gd name="T89" fmla="*/ 87 h 119"/>
                <a:gd name="T90" fmla="*/ 1521 w 1984"/>
                <a:gd name="T91" fmla="*/ 37 h 119"/>
                <a:gd name="T92" fmla="*/ 1503 w 1984"/>
                <a:gd name="T93" fmla="*/ 87 h 119"/>
                <a:gd name="T94" fmla="*/ 1659 w 1984"/>
                <a:gd name="T95" fmla="*/ 104 h 119"/>
                <a:gd name="T96" fmla="*/ 1653 w 1984"/>
                <a:gd name="T97" fmla="*/ 33 h 119"/>
                <a:gd name="T98" fmla="*/ 1625 w 1984"/>
                <a:gd name="T99" fmla="*/ 66 h 119"/>
                <a:gd name="T100" fmla="*/ 1750 w 1984"/>
                <a:gd name="T101" fmla="*/ 111 h 119"/>
                <a:gd name="T102" fmla="*/ 1672 w 1984"/>
                <a:gd name="T103" fmla="*/ 117 h 119"/>
                <a:gd name="T104" fmla="*/ 1738 w 1984"/>
                <a:gd name="T105" fmla="*/ 56 h 119"/>
                <a:gd name="T106" fmla="*/ 1788 w 1984"/>
                <a:gd name="T107" fmla="*/ 36 h 119"/>
                <a:gd name="T108" fmla="*/ 1841 w 1984"/>
                <a:gd name="T109" fmla="*/ 59 h 119"/>
                <a:gd name="T110" fmla="*/ 1875 w 1984"/>
                <a:gd name="T111" fmla="*/ 110 h 119"/>
                <a:gd name="T112" fmla="*/ 1903 w 1984"/>
                <a:gd name="T113" fmla="*/ 71 h 119"/>
                <a:gd name="T114" fmla="*/ 1918 w 1984"/>
                <a:gd name="T115" fmla="*/ 117 h 119"/>
                <a:gd name="T116" fmla="*/ 1984 w 1984"/>
                <a:gd name="T117" fmla="*/ 5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4" h="119">
                  <a:moveTo>
                    <a:pt x="73" y="117"/>
                  </a:moveTo>
                  <a:cubicBezTo>
                    <a:pt x="73" y="113"/>
                    <a:pt x="73" y="113"/>
                    <a:pt x="73" y="113"/>
                  </a:cubicBezTo>
                  <a:cubicBezTo>
                    <a:pt x="73" y="112"/>
                    <a:pt x="72" y="111"/>
                    <a:pt x="71" y="111"/>
                  </a:cubicBezTo>
                  <a:cubicBezTo>
                    <a:pt x="58" y="109"/>
                    <a:pt x="58" y="109"/>
                    <a:pt x="58" y="88"/>
                  </a:cubicBezTo>
                  <a:cubicBezTo>
                    <a:pt x="58" y="12"/>
                    <a:pt x="58" y="12"/>
                    <a:pt x="58" y="12"/>
                  </a:cubicBezTo>
                  <a:cubicBezTo>
                    <a:pt x="58" y="11"/>
                    <a:pt x="59" y="10"/>
                    <a:pt x="60" y="10"/>
                  </a:cubicBezTo>
                  <a:cubicBezTo>
                    <a:pt x="71" y="10"/>
                    <a:pt x="71" y="10"/>
                    <a:pt x="71" y="10"/>
                  </a:cubicBezTo>
                  <a:cubicBezTo>
                    <a:pt x="85" y="10"/>
                    <a:pt x="93" y="12"/>
                    <a:pt x="95" y="31"/>
                  </a:cubicBezTo>
                  <a:cubicBezTo>
                    <a:pt x="96" y="32"/>
                    <a:pt x="96" y="32"/>
                    <a:pt x="97" y="32"/>
                  </a:cubicBezTo>
                  <a:cubicBezTo>
                    <a:pt x="101" y="32"/>
                    <a:pt x="101" y="32"/>
                    <a:pt x="101" y="32"/>
                  </a:cubicBezTo>
                  <a:cubicBezTo>
                    <a:pt x="101" y="24"/>
                    <a:pt x="101" y="10"/>
                    <a:pt x="101" y="2"/>
                  </a:cubicBezTo>
                  <a:cubicBezTo>
                    <a:pt x="94" y="2"/>
                    <a:pt x="85" y="2"/>
                    <a:pt x="71" y="2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16" y="2"/>
                    <a:pt x="7" y="2"/>
                    <a:pt x="0" y="2"/>
                  </a:cubicBezTo>
                  <a:cubicBezTo>
                    <a:pt x="0" y="10"/>
                    <a:pt x="0" y="27"/>
                    <a:pt x="0" y="35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5" y="35"/>
                    <a:pt x="6" y="34"/>
                    <a:pt x="6" y="33"/>
                  </a:cubicBezTo>
                  <a:cubicBezTo>
                    <a:pt x="8" y="12"/>
                    <a:pt x="16" y="10"/>
                    <a:pt x="30" y="10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43" y="10"/>
                    <a:pt x="43" y="11"/>
                    <a:pt x="43" y="12"/>
                  </a:cubicBezTo>
                  <a:cubicBezTo>
                    <a:pt x="43" y="88"/>
                    <a:pt x="43" y="88"/>
                    <a:pt x="43" y="88"/>
                  </a:cubicBezTo>
                  <a:cubicBezTo>
                    <a:pt x="43" y="109"/>
                    <a:pt x="43" y="109"/>
                    <a:pt x="30" y="111"/>
                  </a:cubicBezTo>
                  <a:cubicBezTo>
                    <a:pt x="29" y="111"/>
                    <a:pt x="29" y="112"/>
                    <a:pt x="29" y="113"/>
                  </a:cubicBezTo>
                  <a:cubicBezTo>
                    <a:pt x="29" y="117"/>
                    <a:pt x="29" y="117"/>
                    <a:pt x="29" y="117"/>
                  </a:cubicBezTo>
                  <a:cubicBezTo>
                    <a:pt x="36" y="117"/>
                    <a:pt x="43" y="117"/>
                    <a:pt x="51" y="117"/>
                  </a:cubicBezTo>
                  <a:cubicBezTo>
                    <a:pt x="59" y="117"/>
                    <a:pt x="65" y="117"/>
                    <a:pt x="73" y="117"/>
                  </a:cubicBezTo>
                  <a:close/>
                  <a:moveTo>
                    <a:pt x="367" y="85"/>
                  </a:moveTo>
                  <a:cubicBezTo>
                    <a:pt x="367" y="65"/>
                    <a:pt x="349" y="57"/>
                    <a:pt x="330" y="56"/>
                  </a:cubicBezTo>
                  <a:cubicBezTo>
                    <a:pt x="330" y="55"/>
                    <a:pt x="330" y="55"/>
                    <a:pt x="330" y="55"/>
                  </a:cubicBezTo>
                  <a:cubicBezTo>
                    <a:pt x="344" y="52"/>
                    <a:pt x="355" y="44"/>
                    <a:pt x="355" y="29"/>
                  </a:cubicBezTo>
                  <a:cubicBezTo>
                    <a:pt x="355" y="8"/>
                    <a:pt x="332" y="2"/>
                    <a:pt x="313" y="2"/>
                  </a:cubicBezTo>
                  <a:cubicBezTo>
                    <a:pt x="307" y="2"/>
                    <a:pt x="304" y="2"/>
                    <a:pt x="297" y="2"/>
                  </a:cubicBezTo>
                  <a:cubicBezTo>
                    <a:pt x="289" y="2"/>
                    <a:pt x="281" y="2"/>
                    <a:pt x="274" y="2"/>
                  </a:cubicBezTo>
                  <a:cubicBezTo>
                    <a:pt x="274" y="7"/>
                    <a:pt x="274" y="7"/>
                    <a:pt x="274" y="7"/>
                  </a:cubicBezTo>
                  <a:cubicBezTo>
                    <a:pt x="274" y="8"/>
                    <a:pt x="274" y="8"/>
                    <a:pt x="275" y="8"/>
                  </a:cubicBezTo>
                  <a:cubicBezTo>
                    <a:pt x="288" y="10"/>
                    <a:pt x="288" y="11"/>
                    <a:pt x="288" y="32"/>
                  </a:cubicBezTo>
                  <a:cubicBezTo>
                    <a:pt x="288" y="88"/>
                    <a:pt x="288" y="88"/>
                    <a:pt x="288" y="88"/>
                  </a:cubicBezTo>
                  <a:cubicBezTo>
                    <a:pt x="288" y="109"/>
                    <a:pt x="288" y="109"/>
                    <a:pt x="275" y="111"/>
                  </a:cubicBezTo>
                  <a:cubicBezTo>
                    <a:pt x="274" y="111"/>
                    <a:pt x="274" y="112"/>
                    <a:pt x="274" y="113"/>
                  </a:cubicBezTo>
                  <a:cubicBezTo>
                    <a:pt x="274" y="117"/>
                    <a:pt x="274" y="117"/>
                    <a:pt x="274" y="117"/>
                  </a:cubicBezTo>
                  <a:cubicBezTo>
                    <a:pt x="282" y="117"/>
                    <a:pt x="289" y="117"/>
                    <a:pt x="297" y="117"/>
                  </a:cubicBezTo>
                  <a:cubicBezTo>
                    <a:pt x="306" y="117"/>
                    <a:pt x="310" y="117"/>
                    <a:pt x="320" y="117"/>
                  </a:cubicBezTo>
                  <a:cubicBezTo>
                    <a:pt x="349" y="117"/>
                    <a:pt x="367" y="103"/>
                    <a:pt x="367" y="85"/>
                  </a:cubicBezTo>
                  <a:close/>
                  <a:moveTo>
                    <a:pt x="349" y="85"/>
                  </a:moveTo>
                  <a:cubicBezTo>
                    <a:pt x="349" y="102"/>
                    <a:pt x="339" y="109"/>
                    <a:pt x="319" y="109"/>
                  </a:cubicBezTo>
                  <a:cubicBezTo>
                    <a:pt x="304" y="109"/>
                    <a:pt x="304" y="108"/>
                    <a:pt x="304" y="86"/>
                  </a:cubicBezTo>
                  <a:cubicBezTo>
                    <a:pt x="304" y="60"/>
                    <a:pt x="304" y="60"/>
                    <a:pt x="304" y="60"/>
                  </a:cubicBezTo>
                  <a:cubicBezTo>
                    <a:pt x="311" y="60"/>
                    <a:pt x="311" y="60"/>
                    <a:pt x="311" y="60"/>
                  </a:cubicBezTo>
                  <a:cubicBezTo>
                    <a:pt x="335" y="60"/>
                    <a:pt x="349" y="66"/>
                    <a:pt x="349" y="85"/>
                  </a:cubicBezTo>
                  <a:close/>
                  <a:moveTo>
                    <a:pt x="340" y="31"/>
                  </a:moveTo>
                  <a:cubicBezTo>
                    <a:pt x="340" y="47"/>
                    <a:pt x="329" y="53"/>
                    <a:pt x="311" y="53"/>
                  </a:cubicBezTo>
                  <a:cubicBezTo>
                    <a:pt x="304" y="53"/>
                    <a:pt x="304" y="53"/>
                    <a:pt x="304" y="53"/>
                  </a:cubicBezTo>
                  <a:cubicBezTo>
                    <a:pt x="304" y="12"/>
                    <a:pt x="304" y="12"/>
                    <a:pt x="304" y="12"/>
                  </a:cubicBezTo>
                  <a:cubicBezTo>
                    <a:pt x="304" y="10"/>
                    <a:pt x="304" y="10"/>
                    <a:pt x="306" y="10"/>
                  </a:cubicBezTo>
                  <a:cubicBezTo>
                    <a:pt x="308" y="10"/>
                    <a:pt x="314" y="10"/>
                    <a:pt x="316" y="10"/>
                  </a:cubicBezTo>
                  <a:cubicBezTo>
                    <a:pt x="331" y="10"/>
                    <a:pt x="340" y="16"/>
                    <a:pt x="340" y="31"/>
                  </a:cubicBezTo>
                  <a:close/>
                  <a:moveTo>
                    <a:pt x="875" y="118"/>
                  </a:moveTo>
                  <a:cubicBezTo>
                    <a:pt x="875" y="110"/>
                    <a:pt x="875" y="89"/>
                    <a:pt x="875" y="81"/>
                  </a:cubicBezTo>
                  <a:cubicBezTo>
                    <a:pt x="871" y="81"/>
                    <a:pt x="871" y="81"/>
                    <a:pt x="871" y="81"/>
                  </a:cubicBezTo>
                  <a:cubicBezTo>
                    <a:pt x="870" y="81"/>
                    <a:pt x="869" y="81"/>
                    <a:pt x="869" y="82"/>
                  </a:cubicBezTo>
                  <a:cubicBezTo>
                    <a:pt x="867" y="103"/>
                    <a:pt x="856" y="112"/>
                    <a:pt x="838" y="112"/>
                  </a:cubicBezTo>
                  <a:cubicBezTo>
                    <a:pt x="814" y="112"/>
                    <a:pt x="802" y="92"/>
                    <a:pt x="802" y="59"/>
                  </a:cubicBezTo>
                  <a:cubicBezTo>
                    <a:pt x="802" y="34"/>
                    <a:pt x="807" y="7"/>
                    <a:pt x="834" y="7"/>
                  </a:cubicBezTo>
                  <a:cubicBezTo>
                    <a:pt x="850" y="7"/>
                    <a:pt x="859" y="17"/>
                    <a:pt x="863" y="34"/>
                  </a:cubicBezTo>
                  <a:cubicBezTo>
                    <a:pt x="863" y="35"/>
                    <a:pt x="863" y="35"/>
                    <a:pt x="864" y="35"/>
                  </a:cubicBezTo>
                  <a:cubicBezTo>
                    <a:pt x="869" y="35"/>
                    <a:pt x="869" y="35"/>
                    <a:pt x="869" y="35"/>
                  </a:cubicBezTo>
                  <a:cubicBezTo>
                    <a:pt x="869" y="27"/>
                    <a:pt x="868" y="9"/>
                    <a:pt x="868" y="1"/>
                  </a:cubicBezTo>
                  <a:cubicBezTo>
                    <a:pt x="866" y="1"/>
                    <a:pt x="866" y="1"/>
                    <a:pt x="866" y="1"/>
                  </a:cubicBezTo>
                  <a:cubicBezTo>
                    <a:pt x="865" y="1"/>
                    <a:pt x="864" y="1"/>
                    <a:pt x="863" y="2"/>
                  </a:cubicBezTo>
                  <a:cubicBezTo>
                    <a:pt x="861" y="6"/>
                    <a:pt x="861" y="6"/>
                    <a:pt x="861" y="6"/>
                  </a:cubicBezTo>
                  <a:cubicBezTo>
                    <a:pt x="861" y="6"/>
                    <a:pt x="861" y="6"/>
                    <a:pt x="861" y="6"/>
                  </a:cubicBezTo>
                  <a:cubicBezTo>
                    <a:pt x="854" y="2"/>
                    <a:pt x="845" y="0"/>
                    <a:pt x="834" y="0"/>
                  </a:cubicBezTo>
                  <a:cubicBezTo>
                    <a:pt x="802" y="0"/>
                    <a:pt x="784" y="26"/>
                    <a:pt x="784" y="59"/>
                  </a:cubicBezTo>
                  <a:cubicBezTo>
                    <a:pt x="784" y="98"/>
                    <a:pt x="806" y="119"/>
                    <a:pt x="836" y="119"/>
                  </a:cubicBezTo>
                  <a:cubicBezTo>
                    <a:pt x="852" y="119"/>
                    <a:pt x="862" y="115"/>
                    <a:pt x="867" y="113"/>
                  </a:cubicBezTo>
                  <a:cubicBezTo>
                    <a:pt x="867" y="113"/>
                    <a:pt x="867" y="113"/>
                    <a:pt x="867" y="113"/>
                  </a:cubicBezTo>
                  <a:cubicBezTo>
                    <a:pt x="870" y="117"/>
                    <a:pt x="870" y="117"/>
                    <a:pt x="870" y="117"/>
                  </a:cubicBezTo>
                  <a:cubicBezTo>
                    <a:pt x="871" y="118"/>
                    <a:pt x="871" y="118"/>
                    <a:pt x="872" y="118"/>
                  </a:cubicBezTo>
                  <a:lnTo>
                    <a:pt x="875" y="118"/>
                  </a:lnTo>
                  <a:close/>
                  <a:moveTo>
                    <a:pt x="153" y="117"/>
                  </a:moveTo>
                  <a:cubicBezTo>
                    <a:pt x="147" y="117"/>
                    <a:pt x="140" y="117"/>
                    <a:pt x="135" y="117"/>
                  </a:cubicBezTo>
                  <a:cubicBezTo>
                    <a:pt x="135" y="113"/>
                    <a:pt x="135" y="113"/>
                    <a:pt x="135" y="113"/>
                  </a:cubicBezTo>
                  <a:cubicBezTo>
                    <a:pt x="135" y="112"/>
                    <a:pt x="135" y="112"/>
                    <a:pt x="136" y="112"/>
                  </a:cubicBezTo>
                  <a:cubicBezTo>
                    <a:pt x="146" y="111"/>
                    <a:pt x="146" y="110"/>
                    <a:pt x="146" y="96"/>
                  </a:cubicBezTo>
                  <a:cubicBezTo>
                    <a:pt x="146" y="79"/>
                    <a:pt x="146" y="79"/>
                    <a:pt x="146" y="79"/>
                  </a:cubicBezTo>
                  <a:cubicBezTo>
                    <a:pt x="110" y="79"/>
                    <a:pt x="110" y="79"/>
                    <a:pt x="110" y="79"/>
                  </a:cubicBezTo>
                  <a:cubicBezTo>
                    <a:pt x="110" y="96"/>
                    <a:pt x="110" y="96"/>
                    <a:pt x="110" y="96"/>
                  </a:cubicBezTo>
                  <a:cubicBezTo>
                    <a:pt x="110" y="110"/>
                    <a:pt x="110" y="111"/>
                    <a:pt x="120" y="112"/>
                  </a:cubicBezTo>
                  <a:cubicBezTo>
                    <a:pt x="121" y="112"/>
                    <a:pt x="121" y="112"/>
                    <a:pt x="121" y="113"/>
                  </a:cubicBezTo>
                  <a:cubicBezTo>
                    <a:pt x="121" y="117"/>
                    <a:pt x="121" y="117"/>
                    <a:pt x="121" y="117"/>
                  </a:cubicBezTo>
                  <a:cubicBezTo>
                    <a:pt x="116" y="117"/>
                    <a:pt x="109" y="117"/>
                    <a:pt x="103" y="117"/>
                  </a:cubicBezTo>
                  <a:cubicBezTo>
                    <a:pt x="98" y="117"/>
                    <a:pt x="91" y="117"/>
                    <a:pt x="86" y="117"/>
                  </a:cubicBezTo>
                  <a:cubicBezTo>
                    <a:pt x="86" y="113"/>
                    <a:pt x="86" y="113"/>
                    <a:pt x="86" y="113"/>
                  </a:cubicBezTo>
                  <a:cubicBezTo>
                    <a:pt x="86" y="112"/>
                    <a:pt x="86" y="112"/>
                    <a:pt x="86" y="112"/>
                  </a:cubicBezTo>
                  <a:cubicBezTo>
                    <a:pt x="96" y="111"/>
                    <a:pt x="96" y="110"/>
                    <a:pt x="96" y="96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6" y="45"/>
                    <a:pt x="96" y="44"/>
                    <a:pt x="86" y="43"/>
                  </a:cubicBezTo>
                  <a:cubicBezTo>
                    <a:pt x="86" y="43"/>
                    <a:pt x="86" y="43"/>
                    <a:pt x="86" y="42"/>
                  </a:cubicBezTo>
                  <a:cubicBezTo>
                    <a:pt x="86" y="38"/>
                    <a:pt x="86" y="38"/>
                    <a:pt x="86" y="38"/>
                  </a:cubicBezTo>
                  <a:cubicBezTo>
                    <a:pt x="91" y="38"/>
                    <a:pt x="98" y="38"/>
                    <a:pt x="103" y="38"/>
                  </a:cubicBezTo>
                  <a:cubicBezTo>
                    <a:pt x="109" y="38"/>
                    <a:pt x="116" y="38"/>
                    <a:pt x="121" y="38"/>
                  </a:cubicBezTo>
                  <a:cubicBezTo>
                    <a:pt x="121" y="42"/>
                    <a:pt x="121" y="42"/>
                    <a:pt x="121" y="42"/>
                  </a:cubicBezTo>
                  <a:cubicBezTo>
                    <a:pt x="121" y="43"/>
                    <a:pt x="121" y="43"/>
                    <a:pt x="120" y="43"/>
                  </a:cubicBezTo>
                  <a:cubicBezTo>
                    <a:pt x="110" y="44"/>
                    <a:pt x="110" y="45"/>
                    <a:pt x="110" y="59"/>
                  </a:cubicBezTo>
                  <a:cubicBezTo>
                    <a:pt x="110" y="73"/>
                    <a:pt x="110" y="73"/>
                    <a:pt x="110" y="73"/>
                  </a:cubicBezTo>
                  <a:cubicBezTo>
                    <a:pt x="146" y="73"/>
                    <a:pt x="146" y="73"/>
                    <a:pt x="146" y="73"/>
                  </a:cubicBezTo>
                  <a:cubicBezTo>
                    <a:pt x="146" y="59"/>
                    <a:pt x="146" y="59"/>
                    <a:pt x="146" y="59"/>
                  </a:cubicBezTo>
                  <a:cubicBezTo>
                    <a:pt x="146" y="45"/>
                    <a:pt x="146" y="44"/>
                    <a:pt x="136" y="43"/>
                  </a:cubicBezTo>
                  <a:cubicBezTo>
                    <a:pt x="135" y="43"/>
                    <a:pt x="135" y="43"/>
                    <a:pt x="135" y="42"/>
                  </a:cubicBezTo>
                  <a:cubicBezTo>
                    <a:pt x="135" y="38"/>
                    <a:pt x="135" y="38"/>
                    <a:pt x="135" y="38"/>
                  </a:cubicBezTo>
                  <a:cubicBezTo>
                    <a:pt x="140" y="38"/>
                    <a:pt x="147" y="38"/>
                    <a:pt x="153" y="38"/>
                  </a:cubicBezTo>
                  <a:cubicBezTo>
                    <a:pt x="158" y="38"/>
                    <a:pt x="165" y="38"/>
                    <a:pt x="171" y="38"/>
                  </a:cubicBezTo>
                  <a:cubicBezTo>
                    <a:pt x="171" y="42"/>
                    <a:pt x="171" y="42"/>
                    <a:pt x="171" y="42"/>
                  </a:cubicBezTo>
                  <a:cubicBezTo>
                    <a:pt x="171" y="43"/>
                    <a:pt x="170" y="43"/>
                    <a:pt x="170" y="43"/>
                  </a:cubicBezTo>
                  <a:cubicBezTo>
                    <a:pt x="160" y="44"/>
                    <a:pt x="160" y="45"/>
                    <a:pt x="160" y="59"/>
                  </a:cubicBezTo>
                  <a:cubicBezTo>
                    <a:pt x="160" y="96"/>
                    <a:pt x="160" y="96"/>
                    <a:pt x="160" y="96"/>
                  </a:cubicBezTo>
                  <a:cubicBezTo>
                    <a:pt x="160" y="110"/>
                    <a:pt x="160" y="111"/>
                    <a:pt x="170" y="112"/>
                  </a:cubicBezTo>
                  <a:cubicBezTo>
                    <a:pt x="170" y="112"/>
                    <a:pt x="171" y="112"/>
                    <a:pt x="171" y="113"/>
                  </a:cubicBezTo>
                  <a:cubicBezTo>
                    <a:pt x="171" y="117"/>
                    <a:pt x="171" y="117"/>
                    <a:pt x="171" y="117"/>
                  </a:cubicBezTo>
                  <a:cubicBezTo>
                    <a:pt x="165" y="117"/>
                    <a:pt x="158" y="117"/>
                    <a:pt x="153" y="117"/>
                  </a:cubicBezTo>
                  <a:close/>
                  <a:moveTo>
                    <a:pt x="219" y="117"/>
                  </a:moveTo>
                  <a:cubicBezTo>
                    <a:pt x="194" y="117"/>
                    <a:pt x="194" y="117"/>
                    <a:pt x="194" y="117"/>
                  </a:cubicBezTo>
                  <a:cubicBezTo>
                    <a:pt x="189" y="117"/>
                    <a:pt x="182" y="117"/>
                    <a:pt x="177" y="117"/>
                  </a:cubicBezTo>
                  <a:cubicBezTo>
                    <a:pt x="177" y="113"/>
                    <a:pt x="177" y="113"/>
                    <a:pt x="177" y="113"/>
                  </a:cubicBezTo>
                  <a:cubicBezTo>
                    <a:pt x="177" y="112"/>
                    <a:pt x="177" y="112"/>
                    <a:pt x="178" y="112"/>
                  </a:cubicBezTo>
                  <a:cubicBezTo>
                    <a:pt x="188" y="111"/>
                    <a:pt x="188" y="110"/>
                    <a:pt x="188" y="96"/>
                  </a:cubicBezTo>
                  <a:cubicBezTo>
                    <a:pt x="188" y="59"/>
                    <a:pt x="188" y="59"/>
                    <a:pt x="188" y="59"/>
                  </a:cubicBezTo>
                  <a:cubicBezTo>
                    <a:pt x="188" y="45"/>
                    <a:pt x="188" y="44"/>
                    <a:pt x="178" y="43"/>
                  </a:cubicBezTo>
                  <a:cubicBezTo>
                    <a:pt x="177" y="43"/>
                    <a:pt x="177" y="43"/>
                    <a:pt x="177" y="42"/>
                  </a:cubicBezTo>
                  <a:cubicBezTo>
                    <a:pt x="177" y="38"/>
                    <a:pt x="177" y="38"/>
                    <a:pt x="177" y="38"/>
                  </a:cubicBezTo>
                  <a:cubicBezTo>
                    <a:pt x="182" y="38"/>
                    <a:pt x="189" y="38"/>
                    <a:pt x="194" y="38"/>
                  </a:cubicBezTo>
                  <a:cubicBezTo>
                    <a:pt x="213" y="38"/>
                    <a:pt x="213" y="38"/>
                    <a:pt x="213" y="38"/>
                  </a:cubicBezTo>
                  <a:cubicBezTo>
                    <a:pt x="223" y="38"/>
                    <a:pt x="229" y="38"/>
                    <a:pt x="234" y="38"/>
                  </a:cubicBezTo>
                  <a:cubicBezTo>
                    <a:pt x="234" y="44"/>
                    <a:pt x="234" y="54"/>
                    <a:pt x="235" y="59"/>
                  </a:cubicBezTo>
                  <a:cubicBezTo>
                    <a:pt x="231" y="59"/>
                    <a:pt x="231" y="59"/>
                    <a:pt x="231" y="59"/>
                  </a:cubicBezTo>
                  <a:cubicBezTo>
                    <a:pt x="230" y="59"/>
                    <a:pt x="230" y="59"/>
                    <a:pt x="230" y="58"/>
                  </a:cubicBezTo>
                  <a:cubicBezTo>
                    <a:pt x="228" y="46"/>
                    <a:pt x="223" y="44"/>
                    <a:pt x="213" y="44"/>
                  </a:cubicBezTo>
                  <a:cubicBezTo>
                    <a:pt x="202" y="44"/>
                    <a:pt x="202" y="44"/>
                    <a:pt x="202" y="44"/>
                  </a:cubicBezTo>
                  <a:cubicBezTo>
                    <a:pt x="201" y="44"/>
                    <a:pt x="201" y="45"/>
                    <a:pt x="201" y="46"/>
                  </a:cubicBezTo>
                  <a:cubicBezTo>
                    <a:pt x="201" y="73"/>
                    <a:pt x="201" y="73"/>
                    <a:pt x="201" y="73"/>
                  </a:cubicBezTo>
                  <a:cubicBezTo>
                    <a:pt x="202" y="73"/>
                    <a:pt x="202" y="73"/>
                    <a:pt x="202" y="73"/>
                  </a:cubicBezTo>
                  <a:cubicBezTo>
                    <a:pt x="212" y="73"/>
                    <a:pt x="215" y="71"/>
                    <a:pt x="216" y="63"/>
                  </a:cubicBezTo>
                  <a:cubicBezTo>
                    <a:pt x="216" y="62"/>
                    <a:pt x="216" y="62"/>
                    <a:pt x="217" y="62"/>
                  </a:cubicBezTo>
                  <a:cubicBezTo>
                    <a:pt x="221" y="62"/>
                    <a:pt x="221" y="62"/>
                    <a:pt x="221" y="62"/>
                  </a:cubicBezTo>
                  <a:cubicBezTo>
                    <a:pt x="221" y="67"/>
                    <a:pt x="220" y="71"/>
                    <a:pt x="220" y="76"/>
                  </a:cubicBezTo>
                  <a:cubicBezTo>
                    <a:pt x="220" y="82"/>
                    <a:pt x="221" y="85"/>
                    <a:pt x="221" y="90"/>
                  </a:cubicBezTo>
                  <a:cubicBezTo>
                    <a:pt x="217" y="90"/>
                    <a:pt x="217" y="90"/>
                    <a:pt x="217" y="90"/>
                  </a:cubicBezTo>
                  <a:cubicBezTo>
                    <a:pt x="216" y="90"/>
                    <a:pt x="216" y="90"/>
                    <a:pt x="216" y="89"/>
                  </a:cubicBezTo>
                  <a:cubicBezTo>
                    <a:pt x="215" y="79"/>
                    <a:pt x="212" y="78"/>
                    <a:pt x="202" y="78"/>
                  </a:cubicBezTo>
                  <a:cubicBezTo>
                    <a:pt x="201" y="78"/>
                    <a:pt x="201" y="78"/>
                    <a:pt x="201" y="78"/>
                  </a:cubicBezTo>
                  <a:cubicBezTo>
                    <a:pt x="201" y="95"/>
                    <a:pt x="201" y="95"/>
                    <a:pt x="201" y="95"/>
                  </a:cubicBezTo>
                  <a:cubicBezTo>
                    <a:pt x="201" y="109"/>
                    <a:pt x="201" y="110"/>
                    <a:pt x="212" y="110"/>
                  </a:cubicBezTo>
                  <a:cubicBezTo>
                    <a:pt x="219" y="110"/>
                    <a:pt x="219" y="110"/>
                    <a:pt x="219" y="110"/>
                  </a:cubicBezTo>
                  <a:cubicBezTo>
                    <a:pt x="229" y="110"/>
                    <a:pt x="234" y="108"/>
                    <a:pt x="236" y="94"/>
                  </a:cubicBezTo>
                  <a:cubicBezTo>
                    <a:pt x="236" y="94"/>
                    <a:pt x="236" y="93"/>
                    <a:pt x="237" y="93"/>
                  </a:cubicBezTo>
                  <a:cubicBezTo>
                    <a:pt x="241" y="93"/>
                    <a:pt x="241" y="93"/>
                    <a:pt x="241" y="93"/>
                  </a:cubicBezTo>
                  <a:cubicBezTo>
                    <a:pt x="241" y="99"/>
                    <a:pt x="240" y="111"/>
                    <a:pt x="240" y="117"/>
                  </a:cubicBezTo>
                  <a:cubicBezTo>
                    <a:pt x="235" y="117"/>
                    <a:pt x="229" y="117"/>
                    <a:pt x="219" y="117"/>
                  </a:cubicBezTo>
                  <a:close/>
                  <a:moveTo>
                    <a:pt x="412" y="119"/>
                  </a:moveTo>
                  <a:cubicBezTo>
                    <a:pt x="391" y="119"/>
                    <a:pt x="374" y="103"/>
                    <a:pt x="374" y="79"/>
                  </a:cubicBezTo>
                  <a:cubicBezTo>
                    <a:pt x="374" y="50"/>
                    <a:pt x="392" y="36"/>
                    <a:pt x="412" y="36"/>
                  </a:cubicBezTo>
                  <a:cubicBezTo>
                    <a:pt x="434" y="36"/>
                    <a:pt x="451" y="52"/>
                    <a:pt x="451" y="76"/>
                  </a:cubicBezTo>
                  <a:cubicBezTo>
                    <a:pt x="451" y="105"/>
                    <a:pt x="433" y="119"/>
                    <a:pt x="412" y="119"/>
                  </a:cubicBezTo>
                  <a:close/>
                  <a:moveTo>
                    <a:pt x="411" y="43"/>
                  </a:moveTo>
                  <a:cubicBezTo>
                    <a:pt x="397" y="43"/>
                    <a:pt x="390" y="54"/>
                    <a:pt x="390" y="78"/>
                  </a:cubicBezTo>
                  <a:cubicBezTo>
                    <a:pt x="390" y="103"/>
                    <a:pt x="399" y="112"/>
                    <a:pt x="413" y="112"/>
                  </a:cubicBezTo>
                  <a:cubicBezTo>
                    <a:pt x="428" y="112"/>
                    <a:pt x="435" y="101"/>
                    <a:pt x="435" y="77"/>
                  </a:cubicBezTo>
                  <a:cubicBezTo>
                    <a:pt x="435" y="52"/>
                    <a:pt x="426" y="43"/>
                    <a:pt x="411" y="43"/>
                  </a:cubicBezTo>
                  <a:close/>
                  <a:moveTo>
                    <a:pt x="463" y="115"/>
                  </a:moveTo>
                  <a:cubicBezTo>
                    <a:pt x="461" y="117"/>
                    <a:pt x="461" y="117"/>
                    <a:pt x="461" y="117"/>
                  </a:cubicBezTo>
                  <a:cubicBezTo>
                    <a:pt x="461" y="118"/>
                    <a:pt x="460" y="118"/>
                    <a:pt x="459" y="118"/>
                  </a:cubicBezTo>
                  <a:cubicBezTo>
                    <a:pt x="457" y="118"/>
                    <a:pt x="457" y="118"/>
                    <a:pt x="457" y="118"/>
                  </a:cubicBezTo>
                  <a:cubicBezTo>
                    <a:pt x="457" y="113"/>
                    <a:pt x="457" y="98"/>
                    <a:pt x="457" y="93"/>
                  </a:cubicBezTo>
                  <a:cubicBezTo>
                    <a:pt x="461" y="93"/>
                    <a:pt x="461" y="93"/>
                    <a:pt x="461" y="93"/>
                  </a:cubicBezTo>
                  <a:cubicBezTo>
                    <a:pt x="461" y="93"/>
                    <a:pt x="462" y="93"/>
                    <a:pt x="462" y="93"/>
                  </a:cubicBezTo>
                  <a:cubicBezTo>
                    <a:pt x="464" y="106"/>
                    <a:pt x="470" y="112"/>
                    <a:pt x="481" y="112"/>
                  </a:cubicBezTo>
                  <a:cubicBezTo>
                    <a:pt x="491" y="112"/>
                    <a:pt x="497" y="108"/>
                    <a:pt x="497" y="101"/>
                  </a:cubicBezTo>
                  <a:cubicBezTo>
                    <a:pt x="497" y="79"/>
                    <a:pt x="457" y="86"/>
                    <a:pt x="457" y="59"/>
                  </a:cubicBezTo>
                  <a:cubicBezTo>
                    <a:pt x="457" y="45"/>
                    <a:pt x="467" y="36"/>
                    <a:pt x="481" y="36"/>
                  </a:cubicBezTo>
                  <a:cubicBezTo>
                    <a:pt x="486" y="36"/>
                    <a:pt x="493" y="37"/>
                    <a:pt x="497" y="41"/>
                  </a:cubicBezTo>
                  <a:cubicBezTo>
                    <a:pt x="499" y="39"/>
                    <a:pt x="499" y="39"/>
                    <a:pt x="499" y="39"/>
                  </a:cubicBezTo>
                  <a:cubicBezTo>
                    <a:pt x="499" y="38"/>
                    <a:pt x="499" y="38"/>
                    <a:pt x="500" y="38"/>
                  </a:cubicBezTo>
                  <a:cubicBezTo>
                    <a:pt x="503" y="38"/>
                    <a:pt x="503" y="38"/>
                    <a:pt x="503" y="38"/>
                  </a:cubicBezTo>
                  <a:cubicBezTo>
                    <a:pt x="503" y="43"/>
                    <a:pt x="503" y="56"/>
                    <a:pt x="503" y="61"/>
                  </a:cubicBezTo>
                  <a:cubicBezTo>
                    <a:pt x="499" y="61"/>
                    <a:pt x="499" y="61"/>
                    <a:pt x="499" y="61"/>
                  </a:cubicBezTo>
                  <a:cubicBezTo>
                    <a:pt x="499" y="61"/>
                    <a:pt x="499" y="61"/>
                    <a:pt x="498" y="61"/>
                  </a:cubicBezTo>
                  <a:cubicBezTo>
                    <a:pt x="496" y="50"/>
                    <a:pt x="491" y="43"/>
                    <a:pt x="481" y="43"/>
                  </a:cubicBezTo>
                  <a:cubicBezTo>
                    <a:pt x="472" y="43"/>
                    <a:pt x="468" y="48"/>
                    <a:pt x="468" y="53"/>
                  </a:cubicBezTo>
                  <a:cubicBezTo>
                    <a:pt x="468" y="74"/>
                    <a:pt x="509" y="67"/>
                    <a:pt x="509" y="94"/>
                  </a:cubicBezTo>
                  <a:cubicBezTo>
                    <a:pt x="509" y="111"/>
                    <a:pt x="495" y="119"/>
                    <a:pt x="481" y="119"/>
                  </a:cubicBezTo>
                  <a:cubicBezTo>
                    <a:pt x="473" y="119"/>
                    <a:pt x="467" y="117"/>
                    <a:pt x="463" y="115"/>
                  </a:cubicBezTo>
                  <a:close/>
                  <a:moveTo>
                    <a:pt x="547" y="117"/>
                  </a:moveTo>
                  <a:cubicBezTo>
                    <a:pt x="541" y="117"/>
                    <a:pt x="534" y="117"/>
                    <a:pt x="529" y="117"/>
                  </a:cubicBezTo>
                  <a:cubicBezTo>
                    <a:pt x="529" y="113"/>
                    <a:pt x="529" y="113"/>
                    <a:pt x="529" y="113"/>
                  </a:cubicBezTo>
                  <a:cubicBezTo>
                    <a:pt x="529" y="112"/>
                    <a:pt x="529" y="112"/>
                    <a:pt x="530" y="112"/>
                  </a:cubicBezTo>
                  <a:cubicBezTo>
                    <a:pt x="540" y="111"/>
                    <a:pt x="540" y="110"/>
                    <a:pt x="540" y="96"/>
                  </a:cubicBezTo>
                  <a:cubicBezTo>
                    <a:pt x="540" y="46"/>
                    <a:pt x="540" y="46"/>
                    <a:pt x="540" y="46"/>
                  </a:cubicBezTo>
                  <a:cubicBezTo>
                    <a:pt x="540" y="45"/>
                    <a:pt x="540" y="44"/>
                    <a:pt x="539" y="44"/>
                  </a:cubicBezTo>
                  <a:cubicBezTo>
                    <a:pt x="532" y="44"/>
                    <a:pt x="532" y="44"/>
                    <a:pt x="532" y="44"/>
                  </a:cubicBezTo>
                  <a:cubicBezTo>
                    <a:pt x="522" y="44"/>
                    <a:pt x="517" y="46"/>
                    <a:pt x="515" y="61"/>
                  </a:cubicBezTo>
                  <a:cubicBezTo>
                    <a:pt x="515" y="61"/>
                    <a:pt x="515" y="61"/>
                    <a:pt x="514" y="61"/>
                  </a:cubicBezTo>
                  <a:cubicBezTo>
                    <a:pt x="511" y="61"/>
                    <a:pt x="511" y="61"/>
                    <a:pt x="511" y="61"/>
                  </a:cubicBezTo>
                  <a:cubicBezTo>
                    <a:pt x="511" y="56"/>
                    <a:pt x="511" y="44"/>
                    <a:pt x="511" y="38"/>
                  </a:cubicBezTo>
                  <a:cubicBezTo>
                    <a:pt x="516" y="38"/>
                    <a:pt x="522" y="38"/>
                    <a:pt x="532" y="38"/>
                  </a:cubicBezTo>
                  <a:cubicBezTo>
                    <a:pt x="561" y="38"/>
                    <a:pt x="561" y="38"/>
                    <a:pt x="561" y="38"/>
                  </a:cubicBezTo>
                  <a:cubicBezTo>
                    <a:pt x="571" y="38"/>
                    <a:pt x="577" y="38"/>
                    <a:pt x="582" y="38"/>
                  </a:cubicBezTo>
                  <a:cubicBezTo>
                    <a:pt x="582" y="44"/>
                    <a:pt x="583" y="56"/>
                    <a:pt x="583" y="61"/>
                  </a:cubicBezTo>
                  <a:cubicBezTo>
                    <a:pt x="579" y="61"/>
                    <a:pt x="579" y="61"/>
                    <a:pt x="579" y="61"/>
                  </a:cubicBezTo>
                  <a:cubicBezTo>
                    <a:pt x="578" y="61"/>
                    <a:pt x="578" y="61"/>
                    <a:pt x="578" y="61"/>
                  </a:cubicBezTo>
                  <a:cubicBezTo>
                    <a:pt x="576" y="46"/>
                    <a:pt x="571" y="44"/>
                    <a:pt x="561" y="44"/>
                  </a:cubicBezTo>
                  <a:cubicBezTo>
                    <a:pt x="555" y="44"/>
                    <a:pt x="555" y="44"/>
                    <a:pt x="555" y="44"/>
                  </a:cubicBezTo>
                  <a:cubicBezTo>
                    <a:pt x="554" y="44"/>
                    <a:pt x="554" y="45"/>
                    <a:pt x="554" y="46"/>
                  </a:cubicBezTo>
                  <a:cubicBezTo>
                    <a:pt x="554" y="96"/>
                    <a:pt x="554" y="96"/>
                    <a:pt x="554" y="96"/>
                  </a:cubicBezTo>
                  <a:cubicBezTo>
                    <a:pt x="554" y="110"/>
                    <a:pt x="554" y="111"/>
                    <a:pt x="563" y="112"/>
                  </a:cubicBezTo>
                  <a:cubicBezTo>
                    <a:pt x="564" y="112"/>
                    <a:pt x="564" y="112"/>
                    <a:pt x="564" y="113"/>
                  </a:cubicBezTo>
                  <a:cubicBezTo>
                    <a:pt x="564" y="117"/>
                    <a:pt x="564" y="117"/>
                    <a:pt x="564" y="117"/>
                  </a:cubicBezTo>
                  <a:cubicBezTo>
                    <a:pt x="559" y="117"/>
                    <a:pt x="552" y="117"/>
                    <a:pt x="547" y="117"/>
                  </a:cubicBezTo>
                  <a:close/>
                  <a:moveTo>
                    <a:pt x="622" y="119"/>
                  </a:moveTo>
                  <a:cubicBezTo>
                    <a:pt x="601" y="119"/>
                    <a:pt x="584" y="103"/>
                    <a:pt x="584" y="79"/>
                  </a:cubicBezTo>
                  <a:cubicBezTo>
                    <a:pt x="584" y="50"/>
                    <a:pt x="602" y="36"/>
                    <a:pt x="622" y="36"/>
                  </a:cubicBezTo>
                  <a:cubicBezTo>
                    <a:pt x="644" y="36"/>
                    <a:pt x="660" y="52"/>
                    <a:pt x="660" y="76"/>
                  </a:cubicBezTo>
                  <a:cubicBezTo>
                    <a:pt x="660" y="105"/>
                    <a:pt x="643" y="119"/>
                    <a:pt x="622" y="119"/>
                  </a:cubicBezTo>
                  <a:close/>
                  <a:moveTo>
                    <a:pt x="621" y="43"/>
                  </a:moveTo>
                  <a:cubicBezTo>
                    <a:pt x="607" y="43"/>
                    <a:pt x="600" y="54"/>
                    <a:pt x="600" y="78"/>
                  </a:cubicBezTo>
                  <a:cubicBezTo>
                    <a:pt x="600" y="103"/>
                    <a:pt x="609" y="112"/>
                    <a:pt x="623" y="112"/>
                  </a:cubicBezTo>
                  <a:cubicBezTo>
                    <a:pt x="638" y="112"/>
                    <a:pt x="645" y="101"/>
                    <a:pt x="645" y="77"/>
                  </a:cubicBezTo>
                  <a:cubicBezTo>
                    <a:pt x="645" y="52"/>
                    <a:pt x="635" y="43"/>
                    <a:pt x="621" y="43"/>
                  </a:cubicBezTo>
                  <a:close/>
                  <a:moveTo>
                    <a:pt x="729" y="119"/>
                  </a:moveTo>
                  <a:cubicBezTo>
                    <a:pt x="727" y="115"/>
                    <a:pt x="724" y="111"/>
                    <a:pt x="721" y="107"/>
                  </a:cubicBezTo>
                  <a:cubicBezTo>
                    <a:pt x="684" y="53"/>
                    <a:pt x="684" y="53"/>
                    <a:pt x="684" y="53"/>
                  </a:cubicBezTo>
                  <a:cubicBezTo>
                    <a:pt x="683" y="53"/>
                    <a:pt x="683" y="53"/>
                    <a:pt x="683" y="53"/>
                  </a:cubicBezTo>
                  <a:cubicBezTo>
                    <a:pt x="683" y="84"/>
                    <a:pt x="683" y="84"/>
                    <a:pt x="683" y="84"/>
                  </a:cubicBezTo>
                  <a:cubicBezTo>
                    <a:pt x="683" y="108"/>
                    <a:pt x="683" y="111"/>
                    <a:pt x="697" y="112"/>
                  </a:cubicBezTo>
                  <a:cubicBezTo>
                    <a:pt x="698" y="112"/>
                    <a:pt x="698" y="112"/>
                    <a:pt x="698" y="113"/>
                  </a:cubicBezTo>
                  <a:cubicBezTo>
                    <a:pt x="698" y="117"/>
                    <a:pt x="698" y="117"/>
                    <a:pt x="698" y="117"/>
                  </a:cubicBezTo>
                  <a:cubicBezTo>
                    <a:pt x="693" y="117"/>
                    <a:pt x="685" y="117"/>
                    <a:pt x="679" y="117"/>
                  </a:cubicBezTo>
                  <a:cubicBezTo>
                    <a:pt x="673" y="117"/>
                    <a:pt x="669" y="117"/>
                    <a:pt x="664" y="117"/>
                  </a:cubicBezTo>
                  <a:cubicBezTo>
                    <a:pt x="664" y="113"/>
                    <a:pt x="664" y="113"/>
                    <a:pt x="664" y="113"/>
                  </a:cubicBezTo>
                  <a:cubicBezTo>
                    <a:pt x="664" y="112"/>
                    <a:pt x="664" y="112"/>
                    <a:pt x="665" y="112"/>
                  </a:cubicBezTo>
                  <a:cubicBezTo>
                    <a:pt x="675" y="111"/>
                    <a:pt x="675" y="108"/>
                    <a:pt x="675" y="84"/>
                  </a:cubicBezTo>
                  <a:cubicBezTo>
                    <a:pt x="675" y="59"/>
                    <a:pt x="675" y="59"/>
                    <a:pt x="675" y="59"/>
                  </a:cubicBezTo>
                  <a:cubicBezTo>
                    <a:pt x="675" y="45"/>
                    <a:pt x="675" y="44"/>
                    <a:pt x="665" y="43"/>
                  </a:cubicBezTo>
                  <a:cubicBezTo>
                    <a:pt x="664" y="43"/>
                    <a:pt x="664" y="43"/>
                    <a:pt x="664" y="42"/>
                  </a:cubicBezTo>
                  <a:cubicBezTo>
                    <a:pt x="664" y="38"/>
                    <a:pt x="664" y="38"/>
                    <a:pt x="664" y="38"/>
                  </a:cubicBezTo>
                  <a:cubicBezTo>
                    <a:pt x="668" y="38"/>
                    <a:pt x="675" y="38"/>
                    <a:pt x="678" y="38"/>
                  </a:cubicBezTo>
                  <a:cubicBezTo>
                    <a:pt x="683" y="38"/>
                    <a:pt x="687" y="38"/>
                    <a:pt x="690" y="38"/>
                  </a:cubicBezTo>
                  <a:cubicBezTo>
                    <a:pt x="730" y="96"/>
                    <a:pt x="730" y="96"/>
                    <a:pt x="730" y="96"/>
                  </a:cubicBezTo>
                  <a:cubicBezTo>
                    <a:pt x="731" y="96"/>
                    <a:pt x="731" y="96"/>
                    <a:pt x="731" y="96"/>
                  </a:cubicBezTo>
                  <a:cubicBezTo>
                    <a:pt x="731" y="71"/>
                    <a:pt x="731" y="71"/>
                    <a:pt x="731" y="71"/>
                  </a:cubicBezTo>
                  <a:cubicBezTo>
                    <a:pt x="731" y="47"/>
                    <a:pt x="730" y="44"/>
                    <a:pt x="716" y="43"/>
                  </a:cubicBezTo>
                  <a:cubicBezTo>
                    <a:pt x="716" y="43"/>
                    <a:pt x="716" y="43"/>
                    <a:pt x="716" y="42"/>
                  </a:cubicBezTo>
                  <a:cubicBezTo>
                    <a:pt x="716" y="38"/>
                    <a:pt x="716" y="38"/>
                    <a:pt x="716" y="38"/>
                  </a:cubicBezTo>
                  <a:cubicBezTo>
                    <a:pt x="721" y="38"/>
                    <a:pt x="729" y="38"/>
                    <a:pt x="735" y="38"/>
                  </a:cubicBezTo>
                  <a:cubicBezTo>
                    <a:pt x="740" y="38"/>
                    <a:pt x="744" y="38"/>
                    <a:pt x="750" y="38"/>
                  </a:cubicBezTo>
                  <a:cubicBezTo>
                    <a:pt x="750" y="42"/>
                    <a:pt x="750" y="42"/>
                    <a:pt x="750" y="42"/>
                  </a:cubicBezTo>
                  <a:cubicBezTo>
                    <a:pt x="750" y="43"/>
                    <a:pt x="750" y="43"/>
                    <a:pt x="749" y="43"/>
                  </a:cubicBezTo>
                  <a:cubicBezTo>
                    <a:pt x="739" y="44"/>
                    <a:pt x="739" y="47"/>
                    <a:pt x="739" y="71"/>
                  </a:cubicBezTo>
                  <a:cubicBezTo>
                    <a:pt x="739" y="119"/>
                    <a:pt x="739" y="119"/>
                    <a:pt x="739" y="119"/>
                  </a:cubicBezTo>
                  <a:lnTo>
                    <a:pt x="729" y="119"/>
                  </a:lnTo>
                  <a:close/>
                  <a:moveTo>
                    <a:pt x="921" y="119"/>
                  </a:moveTo>
                  <a:cubicBezTo>
                    <a:pt x="900" y="119"/>
                    <a:pt x="883" y="103"/>
                    <a:pt x="883" y="79"/>
                  </a:cubicBezTo>
                  <a:cubicBezTo>
                    <a:pt x="883" y="50"/>
                    <a:pt x="901" y="36"/>
                    <a:pt x="921" y="36"/>
                  </a:cubicBezTo>
                  <a:cubicBezTo>
                    <a:pt x="943" y="36"/>
                    <a:pt x="960" y="52"/>
                    <a:pt x="960" y="76"/>
                  </a:cubicBezTo>
                  <a:cubicBezTo>
                    <a:pt x="960" y="105"/>
                    <a:pt x="942" y="119"/>
                    <a:pt x="921" y="119"/>
                  </a:cubicBezTo>
                  <a:close/>
                  <a:moveTo>
                    <a:pt x="920" y="43"/>
                  </a:moveTo>
                  <a:cubicBezTo>
                    <a:pt x="906" y="43"/>
                    <a:pt x="899" y="54"/>
                    <a:pt x="899" y="78"/>
                  </a:cubicBezTo>
                  <a:cubicBezTo>
                    <a:pt x="899" y="103"/>
                    <a:pt x="908" y="112"/>
                    <a:pt x="922" y="112"/>
                  </a:cubicBezTo>
                  <a:cubicBezTo>
                    <a:pt x="937" y="112"/>
                    <a:pt x="944" y="101"/>
                    <a:pt x="944" y="77"/>
                  </a:cubicBezTo>
                  <a:cubicBezTo>
                    <a:pt x="944" y="52"/>
                    <a:pt x="935" y="43"/>
                    <a:pt x="920" y="43"/>
                  </a:cubicBezTo>
                  <a:close/>
                  <a:moveTo>
                    <a:pt x="1029" y="119"/>
                  </a:moveTo>
                  <a:cubicBezTo>
                    <a:pt x="1026" y="115"/>
                    <a:pt x="1023" y="111"/>
                    <a:pt x="1020" y="107"/>
                  </a:cubicBezTo>
                  <a:cubicBezTo>
                    <a:pt x="983" y="53"/>
                    <a:pt x="983" y="53"/>
                    <a:pt x="983" y="53"/>
                  </a:cubicBezTo>
                  <a:cubicBezTo>
                    <a:pt x="982" y="53"/>
                    <a:pt x="982" y="53"/>
                    <a:pt x="982" y="53"/>
                  </a:cubicBezTo>
                  <a:cubicBezTo>
                    <a:pt x="982" y="84"/>
                    <a:pt x="982" y="84"/>
                    <a:pt x="982" y="84"/>
                  </a:cubicBezTo>
                  <a:cubicBezTo>
                    <a:pt x="982" y="108"/>
                    <a:pt x="983" y="111"/>
                    <a:pt x="996" y="112"/>
                  </a:cubicBezTo>
                  <a:cubicBezTo>
                    <a:pt x="997" y="112"/>
                    <a:pt x="997" y="112"/>
                    <a:pt x="997" y="113"/>
                  </a:cubicBezTo>
                  <a:cubicBezTo>
                    <a:pt x="997" y="117"/>
                    <a:pt x="997" y="117"/>
                    <a:pt x="997" y="117"/>
                  </a:cubicBezTo>
                  <a:cubicBezTo>
                    <a:pt x="992" y="117"/>
                    <a:pt x="984" y="117"/>
                    <a:pt x="978" y="117"/>
                  </a:cubicBezTo>
                  <a:cubicBezTo>
                    <a:pt x="972" y="117"/>
                    <a:pt x="969" y="117"/>
                    <a:pt x="963" y="117"/>
                  </a:cubicBezTo>
                  <a:cubicBezTo>
                    <a:pt x="963" y="113"/>
                    <a:pt x="963" y="113"/>
                    <a:pt x="963" y="113"/>
                  </a:cubicBezTo>
                  <a:cubicBezTo>
                    <a:pt x="963" y="112"/>
                    <a:pt x="963" y="112"/>
                    <a:pt x="964" y="112"/>
                  </a:cubicBezTo>
                  <a:cubicBezTo>
                    <a:pt x="974" y="111"/>
                    <a:pt x="974" y="108"/>
                    <a:pt x="974" y="84"/>
                  </a:cubicBezTo>
                  <a:cubicBezTo>
                    <a:pt x="974" y="59"/>
                    <a:pt x="974" y="59"/>
                    <a:pt x="974" y="59"/>
                  </a:cubicBezTo>
                  <a:cubicBezTo>
                    <a:pt x="974" y="45"/>
                    <a:pt x="974" y="44"/>
                    <a:pt x="964" y="43"/>
                  </a:cubicBezTo>
                  <a:cubicBezTo>
                    <a:pt x="963" y="43"/>
                    <a:pt x="963" y="43"/>
                    <a:pt x="963" y="42"/>
                  </a:cubicBezTo>
                  <a:cubicBezTo>
                    <a:pt x="963" y="38"/>
                    <a:pt x="963" y="38"/>
                    <a:pt x="963" y="38"/>
                  </a:cubicBezTo>
                  <a:cubicBezTo>
                    <a:pt x="968" y="38"/>
                    <a:pt x="974" y="38"/>
                    <a:pt x="977" y="38"/>
                  </a:cubicBezTo>
                  <a:cubicBezTo>
                    <a:pt x="982" y="38"/>
                    <a:pt x="986" y="38"/>
                    <a:pt x="989" y="38"/>
                  </a:cubicBezTo>
                  <a:cubicBezTo>
                    <a:pt x="1029" y="96"/>
                    <a:pt x="1029" y="96"/>
                    <a:pt x="1029" y="96"/>
                  </a:cubicBezTo>
                  <a:cubicBezTo>
                    <a:pt x="1030" y="96"/>
                    <a:pt x="1030" y="96"/>
                    <a:pt x="1030" y="96"/>
                  </a:cubicBezTo>
                  <a:cubicBezTo>
                    <a:pt x="1030" y="71"/>
                    <a:pt x="1030" y="71"/>
                    <a:pt x="1030" y="71"/>
                  </a:cubicBezTo>
                  <a:cubicBezTo>
                    <a:pt x="1030" y="47"/>
                    <a:pt x="1030" y="44"/>
                    <a:pt x="1016" y="43"/>
                  </a:cubicBezTo>
                  <a:cubicBezTo>
                    <a:pt x="1015" y="43"/>
                    <a:pt x="1015" y="43"/>
                    <a:pt x="1015" y="42"/>
                  </a:cubicBezTo>
                  <a:cubicBezTo>
                    <a:pt x="1015" y="38"/>
                    <a:pt x="1015" y="38"/>
                    <a:pt x="1015" y="38"/>
                  </a:cubicBezTo>
                  <a:cubicBezTo>
                    <a:pt x="1020" y="38"/>
                    <a:pt x="1028" y="38"/>
                    <a:pt x="1034" y="38"/>
                  </a:cubicBezTo>
                  <a:cubicBezTo>
                    <a:pt x="1040" y="38"/>
                    <a:pt x="1044" y="38"/>
                    <a:pt x="1049" y="38"/>
                  </a:cubicBezTo>
                  <a:cubicBezTo>
                    <a:pt x="1049" y="42"/>
                    <a:pt x="1049" y="42"/>
                    <a:pt x="1049" y="42"/>
                  </a:cubicBezTo>
                  <a:cubicBezTo>
                    <a:pt x="1049" y="43"/>
                    <a:pt x="1049" y="43"/>
                    <a:pt x="1048" y="43"/>
                  </a:cubicBezTo>
                  <a:cubicBezTo>
                    <a:pt x="1038" y="44"/>
                    <a:pt x="1038" y="47"/>
                    <a:pt x="1038" y="71"/>
                  </a:cubicBezTo>
                  <a:cubicBezTo>
                    <a:pt x="1038" y="119"/>
                    <a:pt x="1038" y="119"/>
                    <a:pt x="1038" y="119"/>
                  </a:cubicBezTo>
                  <a:lnTo>
                    <a:pt x="1029" y="119"/>
                  </a:lnTo>
                  <a:close/>
                  <a:moveTo>
                    <a:pt x="1062" y="115"/>
                  </a:moveTo>
                  <a:cubicBezTo>
                    <a:pt x="1060" y="117"/>
                    <a:pt x="1060" y="117"/>
                    <a:pt x="1060" y="117"/>
                  </a:cubicBezTo>
                  <a:cubicBezTo>
                    <a:pt x="1060" y="118"/>
                    <a:pt x="1059" y="118"/>
                    <a:pt x="1059" y="118"/>
                  </a:cubicBezTo>
                  <a:cubicBezTo>
                    <a:pt x="1056" y="118"/>
                    <a:pt x="1056" y="118"/>
                    <a:pt x="1056" y="118"/>
                  </a:cubicBezTo>
                  <a:cubicBezTo>
                    <a:pt x="1056" y="113"/>
                    <a:pt x="1056" y="98"/>
                    <a:pt x="1056" y="93"/>
                  </a:cubicBezTo>
                  <a:cubicBezTo>
                    <a:pt x="1060" y="93"/>
                    <a:pt x="1060" y="93"/>
                    <a:pt x="1060" y="93"/>
                  </a:cubicBezTo>
                  <a:cubicBezTo>
                    <a:pt x="1060" y="93"/>
                    <a:pt x="1061" y="93"/>
                    <a:pt x="1061" y="93"/>
                  </a:cubicBezTo>
                  <a:cubicBezTo>
                    <a:pt x="1063" y="106"/>
                    <a:pt x="1069" y="112"/>
                    <a:pt x="1080" y="112"/>
                  </a:cubicBezTo>
                  <a:cubicBezTo>
                    <a:pt x="1090" y="112"/>
                    <a:pt x="1097" y="108"/>
                    <a:pt x="1097" y="101"/>
                  </a:cubicBezTo>
                  <a:cubicBezTo>
                    <a:pt x="1097" y="79"/>
                    <a:pt x="1056" y="86"/>
                    <a:pt x="1056" y="59"/>
                  </a:cubicBezTo>
                  <a:cubicBezTo>
                    <a:pt x="1056" y="45"/>
                    <a:pt x="1066" y="36"/>
                    <a:pt x="1080" y="36"/>
                  </a:cubicBezTo>
                  <a:cubicBezTo>
                    <a:pt x="1085" y="36"/>
                    <a:pt x="1091" y="37"/>
                    <a:pt x="1096" y="40"/>
                  </a:cubicBezTo>
                  <a:cubicBezTo>
                    <a:pt x="1098" y="38"/>
                    <a:pt x="1098" y="38"/>
                    <a:pt x="1098" y="38"/>
                  </a:cubicBezTo>
                  <a:cubicBezTo>
                    <a:pt x="1098" y="37"/>
                    <a:pt x="1099" y="37"/>
                    <a:pt x="1100" y="37"/>
                  </a:cubicBezTo>
                  <a:cubicBezTo>
                    <a:pt x="1102" y="37"/>
                    <a:pt x="1102" y="37"/>
                    <a:pt x="1102" y="37"/>
                  </a:cubicBezTo>
                  <a:cubicBezTo>
                    <a:pt x="1102" y="42"/>
                    <a:pt x="1102" y="54"/>
                    <a:pt x="1102" y="59"/>
                  </a:cubicBezTo>
                  <a:cubicBezTo>
                    <a:pt x="1099" y="59"/>
                    <a:pt x="1099" y="59"/>
                    <a:pt x="1099" y="59"/>
                  </a:cubicBezTo>
                  <a:cubicBezTo>
                    <a:pt x="1098" y="59"/>
                    <a:pt x="1098" y="59"/>
                    <a:pt x="1098" y="58"/>
                  </a:cubicBezTo>
                  <a:cubicBezTo>
                    <a:pt x="1096" y="50"/>
                    <a:pt x="1090" y="43"/>
                    <a:pt x="1080" y="43"/>
                  </a:cubicBezTo>
                  <a:cubicBezTo>
                    <a:pt x="1071" y="43"/>
                    <a:pt x="1068" y="48"/>
                    <a:pt x="1068" y="53"/>
                  </a:cubicBezTo>
                  <a:cubicBezTo>
                    <a:pt x="1068" y="74"/>
                    <a:pt x="1109" y="67"/>
                    <a:pt x="1109" y="94"/>
                  </a:cubicBezTo>
                  <a:cubicBezTo>
                    <a:pt x="1109" y="111"/>
                    <a:pt x="1094" y="119"/>
                    <a:pt x="1081" y="119"/>
                  </a:cubicBezTo>
                  <a:cubicBezTo>
                    <a:pt x="1072" y="119"/>
                    <a:pt x="1067" y="117"/>
                    <a:pt x="1062" y="115"/>
                  </a:cubicBezTo>
                  <a:close/>
                  <a:moveTo>
                    <a:pt x="1155" y="119"/>
                  </a:moveTo>
                  <a:cubicBezTo>
                    <a:pt x="1132" y="119"/>
                    <a:pt x="1122" y="110"/>
                    <a:pt x="1122" y="89"/>
                  </a:cubicBezTo>
                  <a:cubicBezTo>
                    <a:pt x="1122" y="59"/>
                    <a:pt x="1122" y="59"/>
                    <a:pt x="1122" y="59"/>
                  </a:cubicBezTo>
                  <a:cubicBezTo>
                    <a:pt x="1122" y="45"/>
                    <a:pt x="1122" y="44"/>
                    <a:pt x="1113" y="43"/>
                  </a:cubicBezTo>
                  <a:cubicBezTo>
                    <a:pt x="1112" y="43"/>
                    <a:pt x="1111" y="43"/>
                    <a:pt x="1111" y="42"/>
                  </a:cubicBezTo>
                  <a:cubicBezTo>
                    <a:pt x="1111" y="38"/>
                    <a:pt x="1111" y="38"/>
                    <a:pt x="1111" y="38"/>
                  </a:cubicBezTo>
                  <a:cubicBezTo>
                    <a:pt x="1117" y="38"/>
                    <a:pt x="1124" y="38"/>
                    <a:pt x="1129" y="38"/>
                  </a:cubicBezTo>
                  <a:cubicBezTo>
                    <a:pt x="1135" y="38"/>
                    <a:pt x="1142" y="38"/>
                    <a:pt x="1147" y="38"/>
                  </a:cubicBezTo>
                  <a:cubicBezTo>
                    <a:pt x="1147" y="42"/>
                    <a:pt x="1147" y="42"/>
                    <a:pt x="1147" y="42"/>
                  </a:cubicBezTo>
                  <a:cubicBezTo>
                    <a:pt x="1147" y="43"/>
                    <a:pt x="1147" y="43"/>
                    <a:pt x="1146" y="43"/>
                  </a:cubicBezTo>
                  <a:cubicBezTo>
                    <a:pt x="1136" y="44"/>
                    <a:pt x="1136" y="45"/>
                    <a:pt x="1136" y="59"/>
                  </a:cubicBezTo>
                  <a:cubicBezTo>
                    <a:pt x="1136" y="91"/>
                    <a:pt x="1136" y="91"/>
                    <a:pt x="1136" y="91"/>
                  </a:cubicBezTo>
                  <a:cubicBezTo>
                    <a:pt x="1136" y="103"/>
                    <a:pt x="1142" y="110"/>
                    <a:pt x="1157" y="110"/>
                  </a:cubicBezTo>
                  <a:cubicBezTo>
                    <a:pt x="1170" y="110"/>
                    <a:pt x="1177" y="103"/>
                    <a:pt x="1177" y="90"/>
                  </a:cubicBezTo>
                  <a:cubicBezTo>
                    <a:pt x="1177" y="71"/>
                    <a:pt x="1177" y="71"/>
                    <a:pt x="1177" y="71"/>
                  </a:cubicBezTo>
                  <a:cubicBezTo>
                    <a:pt x="1177" y="46"/>
                    <a:pt x="1177" y="45"/>
                    <a:pt x="1163" y="43"/>
                  </a:cubicBezTo>
                  <a:cubicBezTo>
                    <a:pt x="1162" y="43"/>
                    <a:pt x="1162" y="43"/>
                    <a:pt x="1162" y="42"/>
                  </a:cubicBezTo>
                  <a:cubicBezTo>
                    <a:pt x="1162" y="38"/>
                    <a:pt x="1162" y="38"/>
                    <a:pt x="1162" y="38"/>
                  </a:cubicBezTo>
                  <a:cubicBezTo>
                    <a:pt x="1167" y="38"/>
                    <a:pt x="1175" y="38"/>
                    <a:pt x="1181" y="38"/>
                  </a:cubicBezTo>
                  <a:cubicBezTo>
                    <a:pt x="1186" y="38"/>
                    <a:pt x="1189" y="38"/>
                    <a:pt x="1194" y="38"/>
                  </a:cubicBezTo>
                  <a:cubicBezTo>
                    <a:pt x="1194" y="42"/>
                    <a:pt x="1194" y="42"/>
                    <a:pt x="1194" y="42"/>
                  </a:cubicBezTo>
                  <a:cubicBezTo>
                    <a:pt x="1194" y="43"/>
                    <a:pt x="1194" y="43"/>
                    <a:pt x="1193" y="43"/>
                  </a:cubicBezTo>
                  <a:cubicBezTo>
                    <a:pt x="1185" y="44"/>
                    <a:pt x="1185" y="46"/>
                    <a:pt x="1185" y="71"/>
                  </a:cubicBezTo>
                  <a:cubicBezTo>
                    <a:pt x="1185" y="88"/>
                    <a:pt x="1185" y="88"/>
                    <a:pt x="1185" y="88"/>
                  </a:cubicBezTo>
                  <a:cubicBezTo>
                    <a:pt x="1185" y="109"/>
                    <a:pt x="1175" y="119"/>
                    <a:pt x="1155" y="119"/>
                  </a:cubicBezTo>
                  <a:close/>
                  <a:moveTo>
                    <a:pt x="1243" y="117"/>
                  </a:moveTo>
                  <a:cubicBezTo>
                    <a:pt x="1216" y="117"/>
                    <a:pt x="1216" y="117"/>
                    <a:pt x="1216" y="117"/>
                  </a:cubicBezTo>
                  <a:cubicBezTo>
                    <a:pt x="1211" y="117"/>
                    <a:pt x="1205" y="117"/>
                    <a:pt x="1199" y="117"/>
                  </a:cubicBezTo>
                  <a:cubicBezTo>
                    <a:pt x="1199" y="113"/>
                    <a:pt x="1199" y="113"/>
                    <a:pt x="1199" y="113"/>
                  </a:cubicBezTo>
                  <a:cubicBezTo>
                    <a:pt x="1199" y="112"/>
                    <a:pt x="1199" y="112"/>
                    <a:pt x="1200" y="112"/>
                  </a:cubicBezTo>
                  <a:cubicBezTo>
                    <a:pt x="1210" y="111"/>
                    <a:pt x="1210" y="110"/>
                    <a:pt x="1210" y="96"/>
                  </a:cubicBezTo>
                  <a:cubicBezTo>
                    <a:pt x="1210" y="59"/>
                    <a:pt x="1210" y="59"/>
                    <a:pt x="1210" y="59"/>
                  </a:cubicBezTo>
                  <a:cubicBezTo>
                    <a:pt x="1210" y="45"/>
                    <a:pt x="1210" y="44"/>
                    <a:pt x="1200" y="43"/>
                  </a:cubicBezTo>
                  <a:cubicBezTo>
                    <a:pt x="1199" y="43"/>
                    <a:pt x="1199" y="43"/>
                    <a:pt x="1199" y="42"/>
                  </a:cubicBezTo>
                  <a:cubicBezTo>
                    <a:pt x="1199" y="38"/>
                    <a:pt x="1199" y="38"/>
                    <a:pt x="1199" y="38"/>
                  </a:cubicBezTo>
                  <a:cubicBezTo>
                    <a:pt x="1205" y="38"/>
                    <a:pt x="1212" y="38"/>
                    <a:pt x="1217" y="38"/>
                  </a:cubicBezTo>
                  <a:cubicBezTo>
                    <a:pt x="1223" y="38"/>
                    <a:pt x="1232" y="38"/>
                    <a:pt x="1237" y="38"/>
                  </a:cubicBezTo>
                  <a:cubicBezTo>
                    <a:pt x="1237" y="42"/>
                    <a:pt x="1237" y="42"/>
                    <a:pt x="1237" y="42"/>
                  </a:cubicBezTo>
                  <a:cubicBezTo>
                    <a:pt x="1237" y="43"/>
                    <a:pt x="1237" y="43"/>
                    <a:pt x="1236" y="43"/>
                  </a:cubicBezTo>
                  <a:cubicBezTo>
                    <a:pt x="1224" y="44"/>
                    <a:pt x="1224" y="45"/>
                    <a:pt x="1224" y="59"/>
                  </a:cubicBezTo>
                  <a:cubicBezTo>
                    <a:pt x="1224" y="95"/>
                    <a:pt x="1224" y="95"/>
                    <a:pt x="1224" y="95"/>
                  </a:cubicBezTo>
                  <a:cubicBezTo>
                    <a:pt x="1224" y="109"/>
                    <a:pt x="1224" y="110"/>
                    <a:pt x="1235" y="110"/>
                  </a:cubicBezTo>
                  <a:cubicBezTo>
                    <a:pt x="1240" y="110"/>
                    <a:pt x="1240" y="110"/>
                    <a:pt x="1240" y="110"/>
                  </a:cubicBezTo>
                  <a:cubicBezTo>
                    <a:pt x="1250" y="110"/>
                    <a:pt x="1255" y="107"/>
                    <a:pt x="1257" y="92"/>
                  </a:cubicBezTo>
                  <a:cubicBezTo>
                    <a:pt x="1257" y="92"/>
                    <a:pt x="1257" y="91"/>
                    <a:pt x="1258" y="91"/>
                  </a:cubicBezTo>
                  <a:cubicBezTo>
                    <a:pt x="1261" y="91"/>
                    <a:pt x="1261" y="91"/>
                    <a:pt x="1261" y="91"/>
                  </a:cubicBezTo>
                  <a:cubicBezTo>
                    <a:pt x="1261" y="97"/>
                    <a:pt x="1261" y="111"/>
                    <a:pt x="1261" y="117"/>
                  </a:cubicBezTo>
                  <a:cubicBezTo>
                    <a:pt x="1256" y="117"/>
                    <a:pt x="1253" y="117"/>
                    <a:pt x="1243" y="117"/>
                  </a:cubicBezTo>
                  <a:close/>
                  <a:moveTo>
                    <a:pt x="1291" y="117"/>
                  </a:moveTo>
                  <a:cubicBezTo>
                    <a:pt x="1285" y="117"/>
                    <a:pt x="1278" y="117"/>
                    <a:pt x="1273" y="117"/>
                  </a:cubicBezTo>
                  <a:cubicBezTo>
                    <a:pt x="1273" y="113"/>
                    <a:pt x="1273" y="113"/>
                    <a:pt x="1273" y="113"/>
                  </a:cubicBezTo>
                  <a:cubicBezTo>
                    <a:pt x="1273" y="112"/>
                    <a:pt x="1273" y="112"/>
                    <a:pt x="1274" y="112"/>
                  </a:cubicBezTo>
                  <a:cubicBezTo>
                    <a:pt x="1284" y="111"/>
                    <a:pt x="1284" y="110"/>
                    <a:pt x="1284" y="96"/>
                  </a:cubicBezTo>
                  <a:cubicBezTo>
                    <a:pt x="1284" y="46"/>
                    <a:pt x="1284" y="46"/>
                    <a:pt x="1284" y="46"/>
                  </a:cubicBezTo>
                  <a:cubicBezTo>
                    <a:pt x="1284" y="45"/>
                    <a:pt x="1284" y="44"/>
                    <a:pt x="1283" y="44"/>
                  </a:cubicBezTo>
                  <a:cubicBezTo>
                    <a:pt x="1276" y="44"/>
                    <a:pt x="1276" y="44"/>
                    <a:pt x="1276" y="44"/>
                  </a:cubicBezTo>
                  <a:cubicBezTo>
                    <a:pt x="1266" y="44"/>
                    <a:pt x="1261" y="46"/>
                    <a:pt x="1260" y="61"/>
                  </a:cubicBezTo>
                  <a:cubicBezTo>
                    <a:pt x="1260" y="61"/>
                    <a:pt x="1259" y="61"/>
                    <a:pt x="1259" y="61"/>
                  </a:cubicBezTo>
                  <a:cubicBezTo>
                    <a:pt x="1255" y="61"/>
                    <a:pt x="1255" y="61"/>
                    <a:pt x="1255" y="61"/>
                  </a:cubicBezTo>
                  <a:cubicBezTo>
                    <a:pt x="1255" y="56"/>
                    <a:pt x="1255" y="44"/>
                    <a:pt x="1255" y="38"/>
                  </a:cubicBezTo>
                  <a:cubicBezTo>
                    <a:pt x="1260" y="38"/>
                    <a:pt x="1266" y="38"/>
                    <a:pt x="1276" y="38"/>
                  </a:cubicBezTo>
                  <a:cubicBezTo>
                    <a:pt x="1306" y="38"/>
                    <a:pt x="1306" y="38"/>
                    <a:pt x="1306" y="38"/>
                  </a:cubicBezTo>
                  <a:cubicBezTo>
                    <a:pt x="1316" y="38"/>
                    <a:pt x="1322" y="38"/>
                    <a:pt x="1327" y="38"/>
                  </a:cubicBezTo>
                  <a:cubicBezTo>
                    <a:pt x="1327" y="44"/>
                    <a:pt x="1327" y="56"/>
                    <a:pt x="1327" y="61"/>
                  </a:cubicBezTo>
                  <a:cubicBezTo>
                    <a:pt x="1323" y="61"/>
                    <a:pt x="1323" y="61"/>
                    <a:pt x="1323" y="61"/>
                  </a:cubicBezTo>
                  <a:cubicBezTo>
                    <a:pt x="1323" y="61"/>
                    <a:pt x="1322" y="61"/>
                    <a:pt x="1322" y="61"/>
                  </a:cubicBezTo>
                  <a:cubicBezTo>
                    <a:pt x="1320" y="46"/>
                    <a:pt x="1315" y="44"/>
                    <a:pt x="1306" y="44"/>
                  </a:cubicBezTo>
                  <a:cubicBezTo>
                    <a:pt x="1299" y="44"/>
                    <a:pt x="1299" y="44"/>
                    <a:pt x="1299" y="44"/>
                  </a:cubicBezTo>
                  <a:cubicBezTo>
                    <a:pt x="1298" y="44"/>
                    <a:pt x="1298" y="45"/>
                    <a:pt x="1298" y="46"/>
                  </a:cubicBezTo>
                  <a:cubicBezTo>
                    <a:pt x="1298" y="96"/>
                    <a:pt x="1298" y="96"/>
                    <a:pt x="1298" y="96"/>
                  </a:cubicBezTo>
                  <a:cubicBezTo>
                    <a:pt x="1298" y="110"/>
                    <a:pt x="1298" y="111"/>
                    <a:pt x="1308" y="112"/>
                  </a:cubicBezTo>
                  <a:cubicBezTo>
                    <a:pt x="1309" y="112"/>
                    <a:pt x="1309" y="112"/>
                    <a:pt x="1309" y="113"/>
                  </a:cubicBezTo>
                  <a:cubicBezTo>
                    <a:pt x="1309" y="117"/>
                    <a:pt x="1309" y="117"/>
                    <a:pt x="1309" y="117"/>
                  </a:cubicBezTo>
                  <a:cubicBezTo>
                    <a:pt x="1303" y="117"/>
                    <a:pt x="1296" y="117"/>
                    <a:pt x="1291" y="117"/>
                  </a:cubicBezTo>
                  <a:close/>
                  <a:moveTo>
                    <a:pt x="1349" y="117"/>
                  </a:moveTo>
                  <a:cubicBezTo>
                    <a:pt x="1343" y="117"/>
                    <a:pt x="1336" y="117"/>
                    <a:pt x="1331" y="117"/>
                  </a:cubicBezTo>
                  <a:cubicBezTo>
                    <a:pt x="1331" y="113"/>
                    <a:pt x="1331" y="113"/>
                    <a:pt x="1331" y="113"/>
                  </a:cubicBezTo>
                  <a:cubicBezTo>
                    <a:pt x="1331" y="112"/>
                    <a:pt x="1331" y="112"/>
                    <a:pt x="1332" y="112"/>
                  </a:cubicBezTo>
                  <a:cubicBezTo>
                    <a:pt x="1342" y="111"/>
                    <a:pt x="1342" y="110"/>
                    <a:pt x="1342" y="96"/>
                  </a:cubicBezTo>
                  <a:cubicBezTo>
                    <a:pt x="1342" y="59"/>
                    <a:pt x="1342" y="59"/>
                    <a:pt x="1342" y="59"/>
                  </a:cubicBezTo>
                  <a:cubicBezTo>
                    <a:pt x="1342" y="45"/>
                    <a:pt x="1342" y="44"/>
                    <a:pt x="1332" y="43"/>
                  </a:cubicBezTo>
                  <a:cubicBezTo>
                    <a:pt x="1331" y="43"/>
                    <a:pt x="1331" y="43"/>
                    <a:pt x="1331" y="42"/>
                  </a:cubicBezTo>
                  <a:cubicBezTo>
                    <a:pt x="1331" y="38"/>
                    <a:pt x="1331" y="38"/>
                    <a:pt x="1331" y="38"/>
                  </a:cubicBezTo>
                  <a:cubicBezTo>
                    <a:pt x="1336" y="38"/>
                    <a:pt x="1343" y="38"/>
                    <a:pt x="1349" y="38"/>
                  </a:cubicBezTo>
                  <a:cubicBezTo>
                    <a:pt x="1355" y="38"/>
                    <a:pt x="1361" y="38"/>
                    <a:pt x="1367" y="38"/>
                  </a:cubicBezTo>
                  <a:cubicBezTo>
                    <a:pt x="1367" y="42"/>
                    <a:pt x="1367" y="42"/>
                    <a:pt x="1367" y="42"/>
                  </a:cubicBezTo>
                  <a:cubicBezTo>
                    <a:pt x="1367" y="43"/>
                    <a:pt x="1367" y="43"/>
                    <a:pt x="1366" y="43"/>
                  </a:cubicBezTo>
                  <a:cubicBezTo>
                    <a:pt x="1356" y="44"/>
                    <a:pt x="1356" y="45"/>
                    <a:pt x="1356" y="59"/>
                  </a:cubicBezTo>
                  <a:cubicBezTo>
                    <a:pt x="1356" y="96"/>
                    <a:pt x="1356" y="96"/>
                    <a:pt x="1356" y="96"/>
                  </a:cubicBezTo>
                  <a:cubicBezTo>
                    <a:pt x="1356" y="110"/>
                    <a:pt x="1356" y="111"/>
                    <a:pt x="1366" y="112"/>
                  </a:cubicBezTo>
                  <a:cubicBezTo>
                    <a:pt x="1367" y="112"/>
                    <a:pt x="1367" y="112"/>
                    <a:pt x="1367" y="113"/>
                  </a:cubicBezTo>
                  <a:cubicBezTo>
                    <a:pt x="1367" y="117"/>
                    <a:pt x="1367" y="117"/>
                    <a:pt x="1367" y="117"/>
                  </a:cubicBezTo>
                  <a:cubicBezTo>
                    <a:pt x="1361" y="117"/>
                    <a:pt x="1354" y="117"/>
                    <a:pt x="1349" y="117"/>
                  </a:cubicBezTo>
                  <a:close/>
                  <a:moveTo>
                    <a:pt x="1438" y="119"/>
                  </a:moveTo>
                  <a:cubicBezTo>
                    <a:pt x="1436" y="115"/>
                    <a:pt x="1433" y="111"/>
                    <a:pt x="1430" y="107"/>
                  </a:cubicBezTo>
                  <a:cubicBezTo>
                    <a:pt x="1392" y="53"/>
                    <a:pt x="1392" y="53"/>
                    <a:pt x="1392" y="53"/>
                  </a:cubicBezTo>
                  <a:cubicBezTo>
                    <a:pt x="1392" y="53"/>
                    <a:pt x="1392" y="53"/>
                    <a:pt x="1392" y="53"/>
                  </a:cubicBezTo>
                  <a:cubicBezTo>
                    <a:pt x="1392" y="84"/>
                    <a:pt x="1392" y="84"/>
                    <a:pt x="1392" y="84"/>
                  </a:cubicBezTo>
                  <a:cubicBezTo>
                    <a:pt x="1392" y="108"/>
                    <a:pt x="1392" y="111"/>
                    <a:pt x="1406" y="112"/>
                  </a:cubicBezTo>
                  <a:cubicBezTo>
                    <a:pt x="1406" y="112"/>
                    <a:pt x="1407" y="112"/>
                    <a:pt x="1407" y="113"/>
                  </a:cubicBezTo>
                  <a:cubicBezTo>
                    <a:pt x="1407" y="117"/>
                    <a:pt x="1407" y="117"/>
                    <a:pt x="1407" y="117"/>
                  </a:cubicBezTo>
                  <a:cubicBezTo>
                    <a:pt x="1401" y="117"/>
                    <a:pt x="1393" y="117"/>
                    <a:pt x="1387" y="117"/>
                  </a:cubicBezTo>
                  <a:cubicBezTo>
                    <a:pt x="1382" y="117"/>
                    <a:pt x="1378" y="117"/>
                    <a:pt x="1373" y="117"/>
                  </a:cubicBezTo>
                  <a:cubicBezTo>
                    <a:pt x="1373" y="113"/>
                    <a:pt x="1373" y="113"/>
                    <a:pt x="1373" y="113"/>
                  </a:cubicBezTo>
                  <a:cubicBezTo>
                    <a:pt x="1373" y="112"/>
                    <a:pt x="1373" y="112"/>
                    <a:pt x="1374" y="112"/>
                  </a:cubicBezTo>
                  <a:cubicBezTo>
                    <a:pt x="1383" y="111"/>
                    <a:pt x="1383" y="108"/>
                    <a:pt x="1383" y="84"/>
                  </a:cubicBezTo>
                  <a:cubicBezTo>
                    <a:pt x="1383" y="59"/>
                    <a:pt x="1383" y="59"/>
                    <a:pt x="1383" y="59"/>
                  </a:cubicBezTo>
                  <a:cubicBezTo>
                    <a:pt x="1383" y="45"/>
                    <a:pt x="1383" y="44"/>
                    <a:pt x="1374" y="43"/>
                  </a:cubicBezTo>
                  <a:cubicBezTo>
                    <a:pt x="1373" y="43"/>
                    <a:pt x="1373" y="43"/>
                    <a:pt x="1373" y="42"/>
                  </a:cubicBezTo>
                  <a:cubicBezTo>
                    <a:pt x="1373" y="38"/>
                    <a:pt x="1373" y="38"/>
                    <a:pt x="1373" y="38"/>
                  </a:cubicBezTo>
                  <a:cubicBezTo>
                    <a:pt x="1377" y="38"/>
                    <a:pt x="1384" y="38"/>
                    <a:pt x="1386" y="38"/>
                  </a:cubicBezTo>
                  <a:cubicBezTo>
                    <a:pt x="1391" y="38"/>
                    <a:pt x="1396" y="38"/>
                    <a:pt x="1399" y="38"/>
                  </a:cubicBezTo>
                  <a:cubicBezTo>
                    <a:pt x="1439" y="96"/>
                    <a:pt x="1439" y="96"/>
                    <a:pt x="1439" y="96"/>
                  </a:cubicBezTo>
                  <a:cubicBezTo>
                    <a:pt x="1439" y="71"/>
                    <a:pt x="1439" y="71"/>
                    <a:pt x="1439" y="71"/>
                  </a:cubicBezTo>
                  <a:cubicBezTo>
                    <a:pt x="1439" y="47"/>
                    <a:pt x="1439" y="44"/>
                    <a:pt x="1425" y="43"/>
                  </a:cubicBezTo>
                  <a:cubicBezTo>
                    <a:pt x="1424" y="43"/>
                    <a:pt x="1424" y="43"/>
                    <a:pt x="1424" y="42"/>
                  </a:cubicBezTo>
                  <a:cubicBezTo>
                    <a:pt x="1424" y="38"/>
                    <a:pt x="1424" y="38"/>
                    <a:pt x="1424" y="38"/>
                  </a:cubicBezTo>
                  <a:cubicBezTo>
                    <a:pt x="1430" y="38"/>
                    <a:pt x="1438" y="38"/>
                    <a:pt x="1443" y="38"/>
                  </a:cubicBezTo>
                  <a:cubicBezTo>
                    <a:pt x="1449" y="38"/>
                    <a:pt x="1453" y="38"/>
                    <a:pt x="1458" y="38"/>
                  </a:cubicBezTo>
                  <a:cubicBezTo>
                    <a:pt x="1458" y="42"/>
                    <a:pt x="1458" y="42"/>
                    <a:pt x="1458" y="42"/>
                  </a:cubicBezTo>
                  <a:cubicBezTo>
                    <a:pt x="1458" y="43"/>
                    <a:pt x="1458" y="43"/>
                    <a:pt x="1458" y="43"/>
                  </a:cubicBezTo>
                  <a:cubicBezTo>
                    <a:pt x="1448" y="44"/>
                    <a:pt x="1447" y="47"/>
                    <a:pt x="1447" y="71"/>
                  </a:cubicBezTo>
                  <a:cubicBezTo>
                    <a:pt x="1447" y="119"/>
                    <a:pt x="1447" y="119"/>
                    <a:pt x="1447" y="119"/>
                  </a:cubicBezTo>
                  <a:lnTo>
                    <a:pt x="1438" y="119"/>
                  </a:lnTo>
                  <a:close/>
                  <a:moveTo>
                    <a:pt x="1537" y="86"/>
                  </a:moveTo>
                  <a:cubicBezTo>
                    <a:pt x="1537" y="87"/>
                    <a:pt x="1537" y="87"/>
                    <a:pt x="1536" y="87"/>
                  </a:cubicBezTo>
                  <a:cubicBezTo>
                    <a:pt x="1529" y="89"/>
                    <a:pt x="1529" y="89"/>
                    <a:pt x="1529" y="99"/>
                  </a:cubicBezTo>
                  <a:cubicBezTo>
                    <a:pt x="1529" y="102"/>
                    <a:pt x="1529" y="102"/>
                    <a:pt x="1529" y="102"/>
                  </a:cubicBezTo>
                  <a:cubicBezTo>
                    <a:pt x="1529" y="104"/>
                    <a:pt x="1529" y="108"/>
                    <a:pt x="1529" y="109"/>
                  </a:cubicBezTo>
                  <a:cubicBezTo>
                    <a:pt x="1529" y="110"/>
                    <a:pt x="1529" y="110"/>
                    <a:pt x="1528" y="110"/>
                  </a:cubicBezTo>
                  <a:cubicBezTo>
                    <a:pt x="1521" y="110"/>
                    <a:pt x="1517" y="119"/>
                    <a:pt x="1499" y="119"/>
                  </a:cubicBezTo>
                  <a:cubicBezTo>
                    <a:pt x="1478" y="119"/>
                    <a:pt x="1462" y="105"/>
                    <a:pt x="1462" y="77"/>
                  </a:cubicBezTo>
                  <a:cubicBezTo>
                    <a:pt x="1462" y="55"/>
                    <a:pt x="1474" y="36"/>
                    <a:pt x="1499" y="36"/>
                  </a:cubicBezTo>
                  <a:cubicBezTo>
                    <a:pt x="1507" y="36"/>
                    <a:pt x="1513" y="38"/>
                    <a:pt x="1517" y="40"/>
                  </a:cubicBezTo>
                  <a:cubicBezTo>
                    <a:pt x="1520" y="38"/>
                    <a:pt x="1520" y="38"/>
                    <a:pt x="1520" y="38"/>
                  </a:cubicBezTo>
                  <a:cubicBezTo>
                    <a:pt x="1520" y="37"/>
                    <a:pt x="1520" y="37"/>
                    <a:pt x="1521" y="37"/>
                  </a:cubicBezTo>
                  <a:cubicBezTo>
                    <a:pt x="1524" y="37"/>
                    <a:pt x="1524" y="37"/>
                    <a:pt x="1524" y="37"/>
                  </a:cubicBezTo>
                  <a:cubicBezTo>
                    <a:pt x="1524" y="42"/>
                    <a:pt x="1524" y="55"/>
                    <a:pt x="1524" y="61"/>
                  </a:cubicBezTo>
                  <a:cubicBezTo>
                    <a:pt x="1520" y="61"/>
                    <a:pt x="1520" y="61"/>
                    <a:pt x="1520" y="61"/>
                  </a:cubicBezTo>
                  <a:cubicBezTo>
                    <a:pt x="1520" y="61"/>
                    <a:pt x="1519" y="61"/>
                    <a:pt x="1519" y="60"/>
                  </a:cubicBezTo>
                  <a:cubicBezTo>
                    <a:pt x="1516" y="48"/>
                    <a:pt x="1511" y="43"/>
                    <a:pt x="1500" y="43"/>
                  </a:cubicBezTo>
                  <a:cubicBezTo>
                    <a:pt x="1481" y="43"/>
                    <a:pt x="1477" y="61"/>
                    <a:pt x="1477" y="77"/>
                  </a:cubicBezTo>
                  <a:cubicBezTo>
                    <a:pt x="1477" y="94"/>
                    <a:pt x="1482" y="113"/>
                    <a:pt x="1501" y="113"/>
                  </a:cubicBezTo>
                  <a:cubicBezTo>
                    <a:pt x="1510" y="113"/>
                    <a:pt x="1515" y="108"/>
                    <a:pt x="1515" y="100"/>
                  </a:cubicBezTo>
                  <a:cubicBezTo>
                    <a:pt x="1515" y="98"/>
                    <a:pt x="1515" y="98"/>
                    <a:pt x="1515" y="98"/>
                  </a:cubicBezTo>
                  <a:cubicBezTo>
                    <a:pt x="1515" y="89"/>
                    <a:pt x="1515" y="89"/>
                    <a:pt x="1503" y="87"/>
                  </a:cubicBezTo>
                  <a:cubicBezTo>
                    <a:pt x="1502" y="87"/>
                    <a:pt x="1502" y="87"/>
                    <a:pt x="1502" y="86"/>
                  </a:cubicBezTo>
                  <a:cubicBezTo>
                    <a:pt x="1502" y="82"/>
                    <a:pt x="1502" y="82"/>
                    <a:pt x="1502" y="82"/>
                  </a:cubicBezTo>
                  <a:cubicBezTo>
                    <a:pt x="1508" y="83"/>
                    <a:pt x="1516" y="83"/>
                    <a:pt x="1521" y="83"/>
                  </a:cubicBezTo>
                  <a:cubicBezTo>
                    <a:pt x="1527" y="83"/>
                    <a:pt x="1531" y="83"/>
                    <a:pt x="1537" y="82"/>
                  </a:cubicBezTo>
                  <a:lnTo>
                    <a:pt x="1537" y="86"/>
                  </a:lnTo>
                  <a:close/>
                  <a:moveTo>
                    <a:pt x="1670" y="71"/>
                  </a:moveTo>
                  <a:cubicBezTo>
                    <a:pt x="1670" y="72"/>
                    <a:pt x="1670" y="73"/>
                    <a:pt x="1669" y="73"/>
                  </a:cubicBezTo>
                  <a:cubicBezTo>
                    <a:pt x="1658" y="75"/>
                    <a:pt x="1658" y="75"/>
                    <a:pt x="1658" y="90"/>
                  </a:cubicBezTo>
                  <a:cubicBezTo>
                    <a:pt x="1658" y="94"/>
                    <a:pt x="1658" y="94"/>
                    <a:pt x="1658" y="94"/>
                  </a:cubicBezTo>
                  <a:cubicBezTo>
                    <a:pt x="1658" y="97"/>
                    <a:pt x="1659" y="102"/>
                    <a:pt x="1659" y="104"/>
                  </a:cubicBezTo>
                  <a:cubicBezTo>
                    <a:pt x="1659" y="105"/>
                    <a:pt x="1658" y="105"/>
                    <a:pt x="1658" y="105"/>
                  </a:cubicBezTo>
                  <a:cubicBezTo>
                    <a:pt x="1647" y="105"/>
                    <a:pt x="1643" y="119"/>
                    <a:pt x="1619" y="119"/>
                  </a:cubicBezTo>
                  <a:cubicBezTo>
                    <a:pt x="1589" y="119"/>
                    <a:pt x="1566" y="99"/>
                    <a:pt x="1566" y="59"/>
                  </a:cubicBezTo>
                  <a:cubicBezTo>
                    <a:pt x="1566" y="26"/>
                    <a:pt x="1583" y="0"/>
                    <a:pt x="1618" y="0"/>
                  </a:cubicBezTo>
                  <a:cubicBezTo>
                    <a:pt x="1629" y="0"/>
                    <a:pt x="1639" y="2"/>
                    <a:pt x="1645" y="6"/>
                  </a:cubicBezTo>
                  <a:cubicBezTo>
                    <a:pt x="1645" y="6"/>
                    <a:pt x="1645" y="6"/>
                    <a:pt x="1645" y="6"/>
                  </a:cubicBezTo>
                  <a:cubicBezTo>
                    <a:pt x="1648" y="2"/>
                    <a:pt x="1648" y="2"/>
                    <a:pt x="1648" y="2"/>
                  </a:cubicBezTo>
                  <a:cubicBezTo>
                    <a:pt x="1648" y="1"/>
                    <a:pt x="1649" y="1"/>
                    <a:pt x="1650" y="1"/>
                  </a:cubicBezTo>
                  <a:cubicBezTo>
                    <a:pt x="1652" y="1"/>
                    <a:pt x="1652" y="1"/>
                    <a:pt x="1652" y="1"/>
                  </a:cubicBezTo>
                  <a:cubicBezTo>
                    <a:pt x="1652" y="9"/>
                    <a:pt x="1653" y="26"/>
                    <a:pt x="1653" y="33"/>
                  </a:cubicBezTo>
                  <a:cubicBezTo>
                    <a:pt x="1648" y="33"/>
                    <a:pt x="1648" y="33"/>
                    <a:pt x="1648" y="33"/>
                  </a:cubicBezTo>
                  <a:cubicBezTo>
                    <a:pt x="1648" y="33"/>
                    <a:pt x="1647" y="33"/>
                    <a:pt x="1647" y="32"/>
                  </a:cubicBezTo>
                  <a:cubicBezTo>
                    <a:pt x="1643" y="16"/>
                    <a:pt x="1634" y="7"/>
                    <a:pt x="1618" y="7"/>
                  </a:cubicBezTo>
                  <a:cubicBezTo>
                    <a:pt x="1590" y="7"/>
                    <a:pt x="1585" y="34"/>
                    <a:pt x="1585" y="59"/>
                  </a:cubicBezTo>
                  <a:cubicBezTo>
                    <a:pt x="1585" y="85"/>
                    <a:pt x="1592" y="112"/>
                    <a:pt x="1620" y="112"/>
                  </a:cubicBezTo>
                  <a:cubicBezTo>
                    <a:pt x="1634" y="112"/>
                    <a:pt x="1643" y="105"/>
                    <a:pt x="1643" y="94"/>
                  </a:cubicBezTo>
                  <a:cubicBezTo>
                    <a:pt x="1643" y="89"/>
                    <a:pt x="1643" y="89"/>
                    <a:pt x="1643" y="89"/>
                  </a:cubicBezTo>
                  <a:cubicBezTo>
                    <a:pt x="1643" y="75"/>
                    <a:pt x="1643" y="75"/>
                    <a:pt x="1627" y="73"/>
                  </a:cubicBezTo>
                  <a:cubicBezTo>
                    <a:pt x="1626" y="73"/>
                    <a:pt x="1625" y="72"/>
                    <a:pt x="1625" y="71"/>
                  </a:cubicBezTo>
                  <a:cubicBezTo>
                    <a:pt x="1625" y="66"/>
                    <a:pt x="1625" y="66"/>
                    <a:pt x="1625" y="66"/>
                  </a:cubicBezTo>
                  <a:cubicBezTo>
                    <a:pt x="1633" y="66"/>
                    <a:pt x="1640" y="67"/>
                    <a:pt x="1649" y="67"/>
                  </a:cubicBezTo>
                  <a:cubicBezTo>
                    <a:pt x="1657" y="67"/>
                    <a:pt x="1662" y="66"/>
                    <a:pt x="1670" y="66"/>
                  </a:cubicBezTo>
                  <a:lnTo>
                    <a:pt x="1670" y="71"/>
                  </a:lnTo>
                  <a:close/>
                  <a:moveTo>
                    <a:pt x="1716" y="76"/>
                  </a:moveTo>
                  <a:cubicBezTo>
                    <a:pt x="1716" y="76"/>
                    <a:pt x="1716" y="76"/>
                    <a:pt x="1716" y="76"/>
                  </a:cubicBezTo>
                  <a:cubicBezTo>
                    <a:pt x="1740" y="80"/>
                    <a:pt x="1733" y="110"/>
                    <a:pt x="1742" y="110"/>
                  </a:cubicBezTo>
                  <a:cubicBezTo>
                    <a:pt x="1745" y="110"/>
                    <a:pt x="1746" y="109"/>
                    <a:pt x="1748" y="107"/>
                  </a:cubicBezTo>
                  <a:cubicBezTo>
                    <a:pt x="1750" y="110"/>
                    <a:pt x="1750" y="110"/>
                    <a:pt x="1750" y="110"/>
                  </a:cubicBezTo>
                  <a:cubicBezTo>
                    <a:pt x="1750" y="110"/>
                    <a:pt x="1751" y="110"/>
                    <a:pt x="1751" y="111"/>
                  </a:cubicBezTo>
                  <a:cubicBezTo>
                    <a:pt x="1751" y="111"/>
                    <a:pt x="1750" y="111"/>
                    <a:pt x="1750" y="111"/>
                  </a:cubicBezTo>
                  <a:cubicBezTo>
                    <a:pt x="1747" y="116"/>
                    <a:pt x="1742" y="118"/>
                    <a:pt x="1737" y="118"/>
                  </a:cubicBezTo>
                  <a:cubicBezTo>
                    <a:pt x="1725" y="118"/>
                    <a:pt x="1723" y="108"/>
                    <a:pt x="1720" y="96"/>
                  </a:cubicBezTo>
                  <a:cubicBezTo>
                    <a:pt x="1718" y="85"/>
                    <a:pt x="1715" y="79"/>
                    <a:pt x="1705" y="79"/>
                  </a:cubicBezTo>
                  <a:cubicBezTo>
                    <a:pt x="1697" y="79"/>
                    <a:pt x="1697" y="79"/>
                    <a:pt x="1697" y="79"/>
                  </a:cubicBezTo>
                  <a:cubicBezTo>
                    <a:pt x="1697" y="96"/>
                    <a:pt x="1697" y="96"/>
                    <a:pt x="1697" y="96"/>
                  </a:cubicBezTo>
                  <a:cubicBezTo>
                    <a:pt x="1697" y="110"/>
                    <a:pt x="1697" y="111"/>
                    <a:pt x="1707" y="112"/>
                  </a:cubicBezTo>
                  <a:cubicBezTo>
                    <a:pt x="1708" y="112"/>
                    <a:pt x="1708" y="112"/>
                    <a:pt x="1708" y="113"/>
                  </a:cubicBezTo>
                  <a:cubicBezTo>
                    <a:pt x="1708" y="117"/>
                    <a:pt x="1708" y="117"/>
                    <a:pt x="1708" y="117"/>
                  </a:cubicBezTo>
                  <a:cubicBezTo>
                    <a:pt x="1702" y="117"/>
                    <a:pt x="1695" y="117"/>
                    <a:pt x="1690" y="117"/>
                  </a:cubicBezTo>
                  <a:cubicBezTo>
                    <a:pt x="1684" y="117"/>
                    <a:pt x="1678" y="117"/>
                    <a:pt x="1672" y="117"/>
                  </a:cubicBezTo>
                  <a:cubicBezTo>
                    <a:pt x="1672" y="113"/>
                    <a:pt x="1672" y="113"/>
                    <a:pt x="1672" y="113"/>
                  </a:cubicBezTo>
                  <a:cubicBezTo>
                    <a:pt x="1672" y="112"/>
                    <a:pt x="1672" y="112"/>
                    <a:pt x="1673" y="112"/>
                  </a:cubicBezTo>
                  <a:cubicBezTo>
                    <a:pt x="1683" y="111"/>
                    <a:pt x="1683" y="110"/>
                    <a:pt x="1683" y="96"/>
                  </a:cubicBezTo>
                  <a:cubicBezTo>
                    <a:pt x="1683" y="59"/>
                    <a:pt x="1683" y="59"/>
                    <a:pt x="1683" y="59"/>
                  </a:cubicBezTo>
                  <a:cubicBezTo>
                    <a:pt x="1683" y="45"/>
                    <a:pt x="1683" y="44"/>
                    <a:pt x="1673" y="43"/>
                  </a:cubicBezTo>
                  <a:cubicBezTo>
                    <a:pt x="1672" y="43"/>
                    <a:pt x="1672" y="43"/>
                    <a:pt x="1672" y="42"/>
                  </a:cubicBezTo>
                  <a:cubicBezTo>
                    <a:pt x="1672" y="38"/>
                    <a:pt x="1672" y="38"/>
                    <a:pt x="1672" y="38"/>
                  </a:cubicBezTo>
                  <a:cubicBezTo>
                    <a:pt x="1678" y="38"/>
                    <a:pt x="1684" y="38"/>
                    <a:pt x="1690" y="38"/>
                  </a:cubicBezTo>
                  <a:cubicBezTo>
                    <a:pt x="1695" y="38"/>
                    <a:pt x="1704" y="38"/>
                    <a:pt x="1708" y="38"/>
                  </a:cubicBezTo>
                  <a:cubicBezTo>
                    <a:pt x="1724" y="38"/>
                    <a:pt x="1738" y="43"/>
                    <a:pt x="1738" y="56"/>
                  </a:cubicBezTo>
                  <a:cubicBezTo>
                    <a:pt x="1738" y="65"/>
                    <a:pt x="1733" y="73"/>
                    <a:pt x="1716" y="76"/>
                  </a:cubicBezTo>
                  <a:close/>
                  <a:moveTo>
                    <a:pt x="1708" y="44"/>
                  </a:moveTo>
                  <a:cubicBezTo>
                    <a:pt x="1704" y="44"/>
                    <a:pt x="1697" y="44"/>
                    <a:pt x="1697" y="46"/>
                  </a:cubicBezTo>
                  <a:cubicBezTo>
                    <a:pt x="1697" y="73"/>
                    <a:pt x="1697" y="73"/>
                    <a:pt x="1697" y="73"/>
                  </a:cubicBezTo>
                  <a:cubicBezTo>
                    <a:pt x="1704" y="73"/>
                    <a:pt x="1704" y="73"/>
                    <a:pt x="1704" y="73"/>
                  </a:cubicBezTo>
                  <a:cubicBezTo>
                    <a:pt x="1716" y="73"/>
                    <a:pt x="1723" y="69"/>
                    <a:pt x="1723" y="58"/>
                  </a:cubicBezTo>
                  <a:cubicBezTo>
                    <a:pt x="1723" y="48"/>
                    <a:pt x="1716" y="44"/>
                    <a:pt x="1708" y="44"/>
                  </a:cubicBezTo>
                  <a:close/>
                  <a:moveTo>
                    <a:pt x="1789" y="119"/>
                  </a:moveTo>
                  <a:cubicBezTo>
                    <a:pt x="1767" y="119"/>
                    <a:pt x="1750" y="103"/>
                    <a:pt x="1750" y="79"/>
                  </a:cubicBezTo>
                  <a:cubicBezTo>
                    <a:pt x="1750" y="50"/>
                    <a:pt x="1768" y="36"/>
                    <a:pt x="1788" y="36"/>
                  </a:cubicBezTo>
                  <a:cubicBezTo>
                    <a:pt x="1810" y="36"/>
                    <a:pt x="1827" y="52"/>
                    <a:pt x="1827" y="76"/>
                  </a:cubicBezTo>
                  <a:cubicBezTo>
                    <a:pt x="1827" y="105"/>
                    <a:pt x="1809" y="119"/>
                    <a:pt x="1789" y="119"/>
                  </a:cubicBezTo>
                  <a:close/>
                  <a:moveTo>
                    <a:pt x="1787" y="43"/>
                  </a:moveTo>
                  <a:cubicBezTo>
                    <a:pt x="1773" y="43"/>
                    <a:pt x="1766" y="54"/>
                    <a:pt x="1766" y="78"/>
                  </a:cubicBezTo>
                  <a:cubicBezTo>
                    <a:pt x="1766" y="103"/>
                    <a:pt x="1775" y="112"/>
                    <a:pt x="1789" y="112"/>
                  </a:cubicBezTo>
                  <a:cubicBezTo>
                    <a:pt x="1804" y="112"/>
                    <a:pt x="1811" y="101"/>
                    <a:pt x="1811" y="77"/>
                  </a:cubicBezTo>
                  <a:cubicBezTo>
                    <a:pt x="1811" y="52"/>
                    <a:pt x="1802" y="43"/>
                    <a:pt x="1787" y="43"/>
                  </a:cubicBezTo>
                  <a:close/>
                  <a:moveTo>
                    <a:pt x="1874" y="119"/>
                  </a:moveTo>
                  <a:cubicBezTo>
                    <a:pt x="1851" y="119"/>
                    <a:pt x="1841" y="110"/>
                    <a:pt x="1841" y="89"/>
                  </a:cubicBezTo>
                  <a:cubicBezTo>
                    <a:pt x="1841" y="59"/>
                    <a:pt x="1841" y="59"/>
                    <a:pt x="1841" y="59"/>
                  </a:cubicBezTo>
                  <a:cubicBezTo>
                    <a:pt x="1841" y="45"/>
                    <a:pt x="1841" y="44"/>
                    <a:pt x="1831" y="43"/>
                  </a:cubicBezTo>
                  <a:cubicBezTo>
                    <a:pt x="1830" y="43"/>
                    <a:pt x="1830" y="43"/>
                    <a:pt x="1830" y="42"/>
                  </a:cubicBezTo>
                  <a:cubicBezTo>
                    <a:pt x="1830" y="38"/>
                    <a:pt x="1830" y="38"/>
                    <a:pt x="1830" y="38"/>
                  </a:cubicBezTo>
                  <a:cubicBezTo>
                    <a:pt x="1835" y="38"/>
                    <a:pt x="1842" y="38"/>
                    <a:pt x="1848" y="38"/>
                  </a:cubicBezTo>
                  <a:cubicBezTo>
                    <a:pt x="1853" y="38"/>
                    <a:pt x="1860" y="38"/>
                    <a:pt x="1866" y="38"/>
                  </a:cubicBezTo>
                  <a:cubicBezTo>
                    <a:pt x="1866" y="42"/>
                    <a:pt x="1866" y="42"/>
                    <a:pt x="1866" y="42"/>
                  </a:cubicBezTo>
                  <a:cubicBezTo>
                    <a:pt x="1866" y="43"/>
                    <a:pt x="1865" y="43"/>
                    <a:pt x="1865" y="43"/>
                  </a:cubicBezTo>
                  <a:cubicBezTo>
                    <a:pt x="1855" y="44"/>
                    <a:pt x="1855" y="45"/>
                    <a:pt x="1855" y="59"/>
                  </a:cubicBezTo>
                  <a:cubicBezTo>
                    <a:pt x="1855" y="91"/>
                    <a:pt x="1855" y="91"/>
                    <a:pt x="1855" y="91"/>
                  </a:cubicBezTo>
                  <a:cubicBezTo>
                    <a:pt x="1855" y="103"/>
                    <a:pt x="1861" y="110"/>
                    <a:pt x="1875" y="110"/>
                  </a:cubicBezTo>
                  <a:cubicBezTo>
                    <a:pt x="1889" y="110"/>
                    <a:pt x="1895" y="103"/>
                    <a:pt x="1895" y="90"/>
                  </a:cubicBezTo>
                  <a:cubicBezTo>
                    <a:pt x="1895" y="71"/>
                    <a:pt x="1895" y="71"/>
                    <a:pt x="1895" y="71"/>
                  </a:cubicBezTo>
                  <a:cubicBezTo>
                    <a:pt x="1895" y="46"/>
                    <a:pt x="1895" y="45"/>
                    <a:pt x="1881" y="43"/>
                  </a:cubicBezTo>
                  <a:cubicBezTo>
                    <a:pt x="1881" y="43"/>
                    <a:pt x="1881" y="43"/>
                    <a:pt x="1881" y="42"/>
                  </a:cubicBezTo>
                  <a:cubicBezTo>
                    <a:pt x="1881" y="38"/>
                    <a:pt x="1881" y="38"/>
                    <a:pt x="1881" y="38"/>
                  </a:cubicBezTo>
                  <a:cubicBezTo>
                    <a:pt x="1886" y="38"/>
                    <a:pt x="1893" y="38"/>
                    <a:pt x="1899" y="38"/>
                  </a:cubicBezTo>
                  <a:cubicBezTo>
                    <a:pt x="1905" y="38"/>
                    <a:pt x="1907" y="38"/>
                    <a:pt x="1913" y="38"/>
                  </a:cubicBezTo>
                  <a:cubicBezTo>
                    <a:pt x="1913" y="42"/>
                    <a:pt x="1913" y="42"/>
                    <a:pt x="1913" y="42"/>
                  </a:cubicBezTo>
                  <a:cubicBezTo>
                    <a:pt x="1913" y="43"/>
                    <a:pt x="1913" y="43"/>
                    <a:pt x="1912" y="43"/>
                  </a:cubicBezTo>
                  <a:cubicBezTo>
                    <a:pt x="1903" y="44"/>
                    <a:pt x="1903" y="46"/>
                    <a:pt x="1903" y="71"/>
                  </a:cubicBezTo>
                  <a:cubicBezTo>
                    <a:pt x="1903" y="88"/>
                    <a:pt x="1903" y="88"/>
                    <a:pt x="1903" y="88"/>
                  </a:cubicBezTo>
                  <a:cubicBezTo>
                    <a:pt x="1903" y="109"/>
                    <a:pt x="1893" y="119"/>
                    <a:pt x="1874" y="119"/>
                  </a:cubicBezTo>
                  <a:close/>
                  <a:moveTo>
                    <a:pt x="1949" y="84"/>
                  </a:moveTo>
                  <a:cubicBezTo>
                    <a:pt x="1943" y="84"/>
                    <a:pt x="1943" y="84"/>
                    <a:pt x="1943" y="84"/>
                  </a:cubicBezTo>
                  <a:cubicBezTo>
                    <a:pt x="1943" y="96"/>
                    <a:pt x="1943" y="96"/>
                    <a:pt x="1943" y="96"/>
                  </a:cubicBezTo>
                  <a:cubicBezTo>
                    <a:pt x="1943" y="110"/>
                    <a:pt x="1943" y="111"/>
                    <a:pt x="1955" y="112"/>
                  </a:cubicBezTo>
                  <a:cubicBezTo>
                    <a:pt x="1956" y="112"/>
                    <a:pt x="1956" y="112"/>
                    <a:pt x="1956" y="113"/>
                  </a:cubicBezTo>
                  <a:cubicBezTo>
                    <a:pt x="1956" y="117"/>
                    <a:pt x="1956" y="117"/>
                    <a:pt x="1956" y="117"/>
                  </a:cubicBezTo>
                  <a:cubicBezTo>
                    <a:pt x="1951" y="117"/>
                    <a:pt x="1941" y="117"/>
                    <a:pt x="1936" y="117"/>
                  </a:cubicBezTo>
                  <a:cubicBezTo>
                    <a:pt x="1930" y="117"/>
                    <a:pt x="1923" y="117"/>
                    <a:pt x="1918" y="117"/>
                  </a:cubicBezTo>
                  <a:cubicBezTo>
                    <a:pt x="1918" y="113"/>
                    <a:pt x="1918" y="113"/>
                    <a:pt x="1918" y="113"/>
                  </a:cubicBezTo>
                  <a:cubicBezTo>
                    <a:pt x="1918" y="112"/>
                    <a:pt x="1918" y="112"/>
                    <a:pt x="1919" y="112"/>
                  </a:cubicBezTo>
                  <a:cubicBezTo>
                    <a:pt x="1929" y="111"/>
                    <a:pt x="1929" y="110"/>
                    <a:pt x="1929" y="96"/>
                  </a:cubicBezTo>
                  <a:cubicBezTo>
                    <a:pt x="1929" y="59"/>
                    <a:pt x="1929" y="59"/>
                    <a:pt x="1929" y="59"/>
                  </a:cubicBezTo>
                  <a:cubicBezTo>
                    <a:pt x="1929" y="45"/>
                    <a:pt x="1929" y="44"/>
                    <a:pt x="1919" y="43"/>
                  </a:cubicBezTo>
                  <a:cubicBezTo>
                    <a:pt x="1918" y="43"/>
                    <a:pt x="1918" y="43"/>
                    <a:pt x="1918" y="42"/>
                  </a:cubicBezTo>
                  <a:cubicBezTo>
                    <a:pt x="1918" y="38"/>
                    <a:pt x="1918" y="38"/>
                    <a:pt x="1918" y="38"/>
                  </a:cubicBezTo>
                  <a:cubicBezTo>
                    <a:pt x="1923" y="38"/>
                    <a:pt x="1930" y="38"/>
                    <a:pt x="1936" y="38"/>
                  </a:cubicBezTo>
                  <a:cubicBezTo>
                    <a:pt x="1942" y="38"/>
                    <a:pt x="1947" y="38"/>
                    <a:pt x="1952" y="38"/>
                  </a:cubicBezTo>
                  <a:cubicBezTo>
                    <a:pt x="1965" y="38"/>
                    <a:pt x="1984" y="42"/>
                    <a:pt x="1984" y="59"/>
                  </a:cubicBezTo>
                  <a:cubicBezTo>
                    <a:pt x="1984" y="70"/>
                    <a:pt x="1978" y="84"/>
                    <a:pt x="1949" y="84"/>
                  </a:cubicBezTo>
                  <a:close/>
                  <a:moveTo>
                    <a:pt x="1952" y="44"/>
                  </a:moveTo>
                  <a:cubicBezTo>
                    <a:pt x="1949" y="44"/>
                    <a:pt x="1943" y="44"/>
                    <a:pt x="1943" y="46"/>
                  </a:cubicBezTo>
                  <a:cubicBezTo>
                    <a:pt x="1943" y="78"/>
                    <a:pt x="1943" y="78"/>
                    <a:pt x="1943" y="78"/>
                  </a:cubicBezTo>
                  <a:cubicBezTo>
                    <a:pt x="1949" y="78"/>
                    <a:pt x="1949" y="78"/>
                    <a:pt x="1949" y="78"/>
                  </a:cubicBezTo>
                  <a:cubicBezTo>
                    <a:pt x="1962" y="78"/>
                    <a:pt x="1969" y="73"/>
                    <a:pt x="1969" y="60"/>
                  </a:cubicBezTo>
                  <a:cubicBezTo>
                    <a:pt x="1969" y="49"/>
                    <a:pt x="1962" y="44"/>
                    <a:pt x="1952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350" dirty="0">
                <a:solidFill>
                  <a:srgbClr val="6E6F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endParaRPr>
            </a:p>
          </p:txBody>
        </p:sp>
      </p:grpSp>
      <p:sp>
        <p:nvSpPr>
          <p:cNvPr id="15" name="TextBox 14"/>
          <p:cNvSpPr txBox="1"/>
          <p:nvPr/>
        </p:nvSpPr>
        <p:spPr bwMode="white">
          <a:xfrm>
            <a:off x="693735" y="5715178"/>
            <a:ext cx="630601" cy="170110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9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bcg.com</a:t>
            </a:r>
          </a:p>
        </p:txBody>
      </p:sp>
      <p:pic>
        <p:nvPicPr>
          <p:cNvPr id="9" name="NotMove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20" b="520"/>
          <a:stretch>
            <a:fillRect/>
          </a:stretch>
        </p:blipFill>
        <p:spPr>
          <a:xfrm>
            <a:off x="504307" y="692150"/>
            <a:ext cx="8639693" cy="4217475"/>
          </a:xfrm>
          <a:prstGeom prst="rect">
            <a:avLst/>
          </a:prstGeom>
        </p:spPr>
      </p:pic>
      <p:sp>
        <p:nvSpPr>
          <p:cNvPr id="22" name="tel_rus"/>
          <p:cNvSpPr txBox="1"/>
          <p:nvPr userDrawn="1"/>
        </p:nvSpPr>
        <p:spPr>
          <a:xfrm>
            <a:off x="1820728" y="6154970"/>
            <a:ext cx="101790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/>
                <a:cs typeface="Tahoma"/>
                <a:sym typeface="Tahoma" panose="020B0604030504040204" pitchFamily="34" charset="0"/>
              </a:rPr>
              <a:t>+7 (000) 000-00-00</a:t>
            </a:r>
          </a:p>
        </p:txBody>
      </p:sp>
      <p:sp>
        <p:nvSpPr>
          <p:cNvPr id="23" name="tel_rus"/>
          <p:cNvSpPr txBox="1"/>
          <p:nvPr userDrawn="1"/>
        </p:nvSpPr>
        <p:spPr>
          <a:xfrm>
            <a:off x="1820728" y="6411136"/>
            <a:ext cx="101790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/>
                <a:cs typeface="Tahoma"/>
                <a:sym typeface="Tahoma" panose="020B0604030504040204" pitchFamily="34" charset="0"/>
              </a:rPr>
              <a:t>+7 (000) 000-00-00</a:t>
            </a:r>
          </a:p>
        </p:txBody>
      </p:sp>
      <p:sp>
        <p:nvSpPr>
          <p:cNvPr id="18" name="tel_rus"/>
          <p:cNvSpPr txBox="1"/>
          <p:nvPr userDrawn="1"/>
        </p:nvSpPr>
        <p:spPr>
          <a:xfrm>
            <a:off x="1415912" y="6155620"/>
            <a:ext cx="269304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/>
                <a:cs typeface="Tahoma"/>
                <a:sym typeface="Tahoma" panose="020B0604030504040204" pitchFamily="34" charset="0"/>
              </a:rPr>
              <a:t>Tel: </a:t>
            </a:r>
          </a:p>
        </p:txBody>
      </p:sp>
      <p:sp>
        <p:nvSpPr>
          <p:cNvPr id="19" name="fax_rus"/>
          <p:cNvSpPr txBox="1"/>
          <p:nvPr userDrawn="1"/>
        </p:nvSpPr>
        <p:spPr>
          <a:xfrm>
            <a:off x="1415912" y="6410557"/>
            <a:ext cx="256480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/>
                <a:cs typeface="Tahoma"/>
                <a:sym typeface="Tahoma" panose="020B0604030504040204" pitchFamily="34" charset="0"/>
              </a:rPr>
              <a:t>Fax: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1415913" y="4961327"/>
            <a:ext cx="4519615" cy="323999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sz="1350" b="1" kern="0" dirty="0">
                <a:solidFill>
                  <a:srgbClr val="0077C8"/>
                </a:solidFill>
                <a:latin typeface="Tahoma" panose="020B0604030504040204" pitchFamily="34" charset="0"/>
                <a:ea typeface="Tahoma"/>
                <a:cs typeface="Tahoma"/>
                <a:sym typeface="Tahoma" panose="020B0604030504040204" pitchFamily="34" charset="0"/>
              </a:rPr>
              <a:t>Branch name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1415913" y="5427146"/>
            <a:ext cx="4519615" cy="576064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sz="1350" kern="0" dirty="0">
                <a:solidFill>
                  <a:srgbClr val="000000"/>
                </a:solidFill>
                <a:latin typeface="Tahoma" panose="020B0604030504040204" pitchFamily="34" charset="0"/>
                <a:ea typeface="Tahoma"/>
                <a:cs typeface="Tahoma"/>
                <a:sym typeface="Tahoma" panose="020B0604030504040204" pitchFamily="34" charset="0"/>
              </a:rPr>
              <a:t>Address</a:t>
            </a:r>
          </a:p>
        </p:txBody>
      </p:sp>
    </p:spTree>
    <p:extLst>
      <p:ext uri="{BB962C8B-B14F-4D97-AF65-F5344CB8AC3E}">
        <p14:creationId xmlns:p14="http://schemas.microsoft.com/office/powerpoint/2010/main" val="674797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4314147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8605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450" y="-1"/>
            <a:ext cx="914535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35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US" sz="135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US" sz="135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US" sz="135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US" sz="135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US" sz="135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US" sz="135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US" sz="135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US" sz="135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US" sz="135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US" sz="135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US" sz="135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3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3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US" sz="135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US" sz="135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US" sz="135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US" sz="135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US" sz="135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eaLnBrk="1">
                <a:lnSpc>
                  <a:spcPct val="90000"/>
                </a:lnSpc>
                <a:spcAft>
                  <a:spcPts val="750"/>
                </a:spcAft>
              </a:pPr>
              <a:endParaRPr lang="en-US" sz="9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248316"/>
              <a:ext cx="9030914" cy="311624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rPr>
                <a:t>1. </a:t>
              </a:r>
              <a:r>
                <a:rPr kumimoji="0" lang="en-US" sz="75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rPr>
                <a:t>xxxx</a:t>
              </a: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rPr>
                <a:t>  2. </a:t>
              </a:r>
              <a:r>
                <a:rPr kumimoji="0" lang="en-US" sz="75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rPr>
                <a:t>xxxx</a:t>
              </a: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rPr>
                <a:t>  3. </a:t>
              </a:r>
              <a:r>
                <a:rPr kumimoji="0" lang="en-US" sz="75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rPr>
                <a:t>xxxx</a:t>
              </a:r>
              <a:endPara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endParaRPr>
            </a:p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 baseline="0">
                <a:solidFill>
                  <a:schemeClr val="tx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647342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smtClean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NN Sustainability_check-point_4_14Oct2019_v12_stickers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7857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6085087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9629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350" b="1" i="0" baseline="0" dirty="0" err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grpSp>
        <p:nvGrpSpPr>
          <p:cNvPr id="5" name="Group 4"/>
          <p:cNvGrpSpPr/>
          <p:nvPr userDrawn="1"/>
        </p:nvGrpSpPr>
        <p:grpSpPr>
          <a:xfrm>
            <a:off x="944764" y="281354"/>
            <a:ext cx="8199236" cy="4166538"/>
            <a:chOff x="1259686" y="618978"/>
            <a:chExt cx="10932314" cy="4166538"/>
          </a:xfrm>
        </p:grpSpPr>
        <p:pic>
          <p:nvPicPr>
            <p:cNvPr id="16" name="smen_image"/>
            <p:cNvPicPr>
              <a:picLocks noChangeAspect="1"/>
            </p:cNvPicPr>
            <p:nvPr userDrawn="1"/>
          </p:nvPicPr>
          <p:blipFill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59686" y="618978"/>
              <a:ext cx="10917167" cy="4166538"/>
            </a:xfrm>
            <a:prstGeom prst="rect">
              <a:avLst/>
            </a:prstGeom>
          </p:spPr>
        </p:pic>
        <p:pic>
          <p:nvPicPr>
            <p:cNvPr id="19" name="Рисунок 14"/>
            <p:cNvPicPr>
              <a:picLocks noChangeAspect="1"/>
            </p:cNvPicPr>
            <p:nvPr userDrawn="1"/>
          </p:nvPicPr>
          <p:blipFill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52561"/>
            <a:stretch/>
          </p:blipFill>
          <p:spPr>
            <a:xfrm>
              <a:off x="8576915" y="3855406"/>
              <a:ext cx="3615085" cy="929619"/>
            </a:xfrm>
            <a:prstGeom prst="rect">
              <a:avLst/>
            </a:prstGeom>
          </p:spPr>
        </p:pic>
        <p:pic>
          <p:nvPicPr>
            <p:cNvPr id="28" name="LogoEng"/>
            <p:cNvPicPr>
              <a:picLocks noChangeAspect="1"/>
            </p:cNvPicPr>
            <p:nvPr userDrawn="1"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372208" y="4050911"/>
              <a:ext cx="2419182" cy="540990"/>
            </a:xfrm>
            <a:prstGeom prst="rect">
              <a:avLst/>
            </a:prstGeom>
          </p:spPr>
        </p:pic>
      </p:grpSp>
      <p:cxnSp>
        <p:nvCxnSpPr>
          <p:cNvPr id="29" name="Прямая соединительная линия 24"/>
          <p:cNvCxnSpPr/>
          <p:nvPr userDrawn="1"/>
        </p:nvCxnSpPr>
        <p:spPr>
          <a:xfrm>
            <a:off x="1242497" y="6000652"/>
            <a:ext cx="0" cy="700186"/>
          </a:xfrm>
          <a:prstGeom prst="line">
            <a:avLst/>
          </a:prstGeom>
          <a:ln w="6350">
            <a:solidFill>
              <a:srgbClr val="0077C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242497" y="4518645"/>
            <a:ext cx="4819034" cy="49859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algn="l" defTabSz="685800" rtl="0" eaLnBrk="1" latinLnBrk="0" hangingPunct="1">
              <a:lnSpc>
                <a:spcPct val="90000"/>
              </a:lnSpc>
              <a:defRPr lang="en-US" sz="1350" b="1" kern="1200" dirty="0" smtClean="0">
                <a:solidFill>
                  <a:srgbClr val="2B2A29"/>
                </a:solidFill>
                <a:latin typeface="Tahoma" panose="020B0604030504040204" pitchFamily="34" charset="0"/>
                <a:ea typeface="Tahoma"/>
                <a:cs typeface="Tahoma"/>
                <a:sym typeface="Tahoma" panose="020B0604030504040204" pitchFamily="34" charset="0"/>
              </a:defRPr>
            </a:lvl1pPr>
          </a:lstStyle>
          <a:p>
            <a:r>
              <a:rPr lang="en-US" dirty="0"/>
              <a:t>Title in Title Case (Tahoma Bold 18pt, Dark Gray)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242496" y="5529634"/>
            <a:ext cx="2010722" cy="215999"/>
          </a:xfrm>
          <a:prstGeom prst="rect">
            <a:avLst/>
          </a:prstGeom>
          <a:noFill/>
        </p:spPr>
        <p:txBody>
          <a:bodyPr anchor="t" anchorCtr="0"/>
          <a:lstStyle>
            <a:lvl1pPr algn="l">
              <a:lnSpc>
                <a:spcPct val="110000"/>
              </a:lnSpc>
              <a:buNone/>
              <a:defRPr lang="en-US" sz="1050" kern="1200" dirty="0">
                <a:solidFill>
                  <a:srgbClr val="2B2A29"/>
                </a:solidFill>
                <a:latin typeface="Tahoma" panose="020B0604030504040204" pitchFamily="34" charset="0"/>
                <a:ea typeface="Tahoma"/>
                <a:cs typeface="Tahoma"/>
                <a:sym typeface="Tahoma" panose="020B060403050404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171450" indent="0" algn="ctr">
              <a:buNone/>
              <a:defRPr/>
            </a:lvl4pPr>
            <a:lvl5pPr marL="342900" indent="0" algn="ctr">
              <a:buNone/>
              <a:defRPr/>
            </a:lvl5pPr>
          </a:lstStyle>
          <a:p>
            <a:pPr marL="0" lvl="0" algn="l" defTabSz="685800" rtl="0" eaLnBrk="1" latinLnBrk="0" hangingPunct="1">
              <a:lnSpc>
                <a:spcPct val="120000"/>
              </a:lnSpc>
            </a:pPr>
            <a:r>
              <a:rPr lang="en-US" dirty="0"/>
              <a:t>Date (Tahoma 14 </a:t>
            </a:r>
            <a:r>
              <a:rPr lang="en-US" dirty="0" err="1"/>
              <a:t>pt</a:t>
            </a:r>
            <a:r>
              <a:rPr lang="en-US" dirty="0"/>
              <a:t>, Light Gray)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242497" y="5119550"/>
            <a:ext cx="4819034" cy="307776"/>
          </a:xfrm>
          <a:prstGeom prst="rect">
            <a:avLst/>
          </a:prstGeom>
        </p:spPr>
        <p:txBody>
          <a:bodyPr anchor="t" anchorCtr="0"/>
          <a:lstStyle>
            <a:lvl1pPr marL="0" indent="0" algn="l" defTabSz="685800" rtl="0" eaLnBrk="1" latinLnBrk="0" hangingPunct="1">
              <a:lnSpc>
                <a:spcPct val="120000"/>
              </a:lnSpc>
              <a:buNone/>
              <a:defRPr lang="en-US" sz="1050" kern="1200" dirty="0" smtClean="0">
                <a:solidFill>
                  <a:srgbClr val="2B2A29"/>
                </a:solidFill>
                <a:latin typeface="Tahoma" panose="020B0604030504040204" pitchFamily="34" charset="0"/>
                <a:ea typeface="Tahoma"/>
                <a:cs typeface="Tahoma"/>
                <a:sym typeface="Tahoma" panose="020B060403050404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ubtitle in Title Case (Tahoma 14pt, Light Gray)</a:t>
            </a:r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1323474" y="6000653"/>
            <a:ext cx="1166123" cy="147733"/>
          </a:xfrm>
          <a:prstGeom prst="rect">
            <a:avLst/>
          </a:prstGeom>
          <a:noFill/>
        </p:spPr>
        <p:txBody>
          <a:bodyPr anchor="t" anchorCtr="0"/>
          <a:lstStyle>
            <a:lvl1pPr marL="0" algn="l" defTabSz="685800" rtl="0" eaLnBrk="1" latinLnBrk="0" hangingPunct="1">
              <a:lnSpc>
                <a:spcPct val="120000"/>
              </a:lnSpc>
              <a:buNone/>
              <a:defRPr kumimoji="0" lang="en-US" sz="600" b="0" i="0" u="none" strike="noStrike" kern="1200" cap="none" spc="0" normalizeH="0" dirty="0" smtClean="0">
                <a:ln>
                  <a:noFill/>
                </a:ln>
                <a:solidFill>
                  <a:srgbClr val="2B2A29"/>
                </a:solidFill>
                <a:effectLst/>
                <a:uLnTx/>
                <a:uFillTx/>
                <a:latin typeface="Tahoma" panose="020B0604030504040204" pitchFamily="34" charset="0"/>
                <a:ea typeface="Tahoma"/>
                <a:cs typeface="Tahoma"/>
                <a:sym typeface="Tahoma" panose="020B060403050404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171450" indent="0" algn="ctr">
              <a:buNone/>
              <a:defRPr/>
            </a:lvl4pPr>
            <a:lvl5pPr marL="342900" indent="0" algn="ctr">
              <a:buNone/>
              <a:defRPr/>
            </a:lvl5pPr>
          </a:lstStyle>
          <a:p>
            <a:pPr marL="0" marR="0" lvl="0" indent="0" algn="l" defTabSz="6858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epartment</a:t>
            </a:r>
          </a:p>
        </p:txBody>
      </p:sp>
      <p:sp>
        <p:nvSpPr>
          <p:cNvPr id="37" name="Text Placeholder 6"/>
          <p:cNvSpPr>
            <a:spLocks noGrp="1"/>
          </p:cNvSpPr>
          <p:nvPr>
            <p:ph type="body" sz="quarter" idx="14" hasCustomPrompt="1"/>
          </p:nvPr>
        </p:nvSpPr>
        <p:spPr bwMode="black">
          <a:xfrm>
            <a:off x="1323474" y="6274499"/>
            <a:ext cx="1166123" cy="147733"/>
          </a:xfrm>
          <a:prstGeom prst="rect">
            <a:avLst/>
          </a:prstGeom>
          <a:noFill/>
        </p:spPr>
        <p:txBody>
          <a:bodyPr anchor="t" anchorCtr="0"/>
          <a:lstStyle>
            <a:lvl1pPr marL="0" marR="0" indent="0" algn="l" defTabSz="6858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lang="en-US" sz="600" b="0" i="0" u="none" strike="noStrike" kern="1200" cap="none" spc="0" normalizeH="0">
                <a:ln>
                  <a:noFill/>
                </a:ln>
                <a:solidFill>
                  <a:srgbClr val="2B2A29"/>
                </a:solidFill>
                <a:effectLst/>
                <a:uLnTx/>
                <a:uFillTx/>
                <a:latin typeface="Tahoma" panose="020B0604030504040204" pitchFamily="34" charset="0"/>
                <a:ea typeface="Tahoma"/>
                <a:cs typeface="Tahoma"/>
                <a:sym typeface="Tahoma" panose="020B060403050404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171450" indent="0" algn="ctr">
              <a:buNone/>
              <a:defRPr/>
            </a:lvl4pPr>
            <a:lvl5pPr marL="342900" indent="0" algn="ctr">
              <a:buNone/>
              <a:defRPr/>
            </a:lvl5pPr>
          </a:lstStyle>
          <a:p>
            <a:pPr marL="0" marR="0" lvl="0" indent="0" algn="l" defTabSz="6858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ity</a:t>
            </a:r>
          </a:p>
        </p:txBody>
      </p:sp>
      <p:sp>
        <p:nvSpPr>
          <p:cNvPr id="38" name="Text Placeholder 6"/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1323474" y="6548344"/>
            <a:ext cx="1166123" cy="147733"/>
          </a:xfrm>
          <a:prstGeom prst="rect">
            <a:avLst/>
          </a:prstGeom>
          <a:noFill/>
        </p:spPr>
        <p:txBody>
          <a:bodyPr anchor="t" anchorCtr="0"/>
          <a:lstStyle>
            <a:lvl1pPr marL="0" marR="0" indent="0" algn="l" defTabSz="6858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lang="en-US" sz="600" b="0" i="0" u="none" strike="noStrike" kern="1200" cap="none" spc="0" normalizeH="0">
                <a:ln>
                  <a:noFill/>
                </a:ln>
                <a:solidFill>
                  <a:srgbClr val="2B2A29"/>
                </a:solidFill>
                <a:effectLst/>
                <a:uLnTx/>
                <a:uFillTx/>
                <a:latin typeface="Tahoma" panose="020B0604030504040204" pitchFamily="34" charset="0"/>
                <a:ea typeface="Tahoma"/>
                <a:cs typeface="Tahoma"/>
                <a:sym typeface="Tahoma" panose="020B060403050404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171450" indent="0" algn="ctr">
              <a:buNone/>
              <a:defRPr/>
            </a:lvl4pPr>
            <a:lvl5pPr marL="342900" indent="0" algn="ctr">
              <a:buNone/>
              <a:defRPr/>
            </a:lvl5pPr>
          </a:lstStyle>
          <a:p>
            <a:pPr marL="0" marR="0" lvl="0" indent="0" algn="l" defTabSz="6858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/>
              <a:t>Экз</a:t>
            </a:r>
            <a:r>
              <a:rPr lang="en-US" dirty="0"/>
              <a:t>. №</a:t>
            </a:r>
          </a:p>
        </p:txBody>
      </p:sp>
    </p:spTree>
    <p:extLst>
      <p:ext uri="{BB962C8B-B14F-4D97-AF65-F5344CB8AC3E}">
        <p14:creationId xmlns:p14="http://schemas.microsoft.com/office/powerpoint/2010/main" val="2462678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5534224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653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0" i="0" baseline="0" dirty="0" err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eaLnBrk="1">
              <a:defRPr baseline="0">
                <a:solidFill>
                  <a:schemeClr val="tx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647342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72500" y="622801"/>
            <a:ext cx="8200013" cy="249299"/>
          </a:xfrm>
        </p:spPr>
        <p:txBody>
          <a:bodyPr/>
          <a:lstStyle>
            <a:lvl1pPr>
              <a:defRPr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smtClean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NN Sustainability_check-point_4_14Oct2019_v12_stickers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cxnSp>
        <p:nvCxnSpPr>
          <p:cNvPr id="12" name="Прямая соединительная линия 34"/>
          <p:cNvCxnSpPr/>
          <p:nvPr userDrawn="1"/>
        </p:nvCxnSpPr>
        <p:spPr>
          <a:xfrm>
            <a:off x="472500" y="1149371"/>
            <a:ext cx="8199900" cy="0"/>
          </a:xfrm>
          <a:prstGeom prst="line">
            <a:avLst/>
          </a:prstGeom>
          <a:ln w="25400">
            <a:solidFill>
              <a:srgbClr val="0077C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1581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6698090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1677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0" i="0" baseline="0" dirty="0" err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eaLnBrk="1">
              <a:defRPr baseline="0">
                <a:solidFill>
                  <a:schemeClr val="tx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647342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35208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eaLnBrk="1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472500" y="2158988"/>
            <a:ext cx="2808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1227049"/>
            <a:ext cx="2808000" cy="664797"/>
          </a:xfrm>
        </p:spPr>
        <p:txBody>
          <a:bodyPr anchor="t">
            <a:noAutofit/>
          </a:bodyPr>
          <a:lstStyle>
            <a:lvl1pPr>
              <a:defRPr sz="1800">
                <a:solidFill>
                  <a:schemeClr val="tx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smtClean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NN Sustainability_check-point_4_14Oct2019_v12_stickers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5658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2584096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2701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4500"/>
              </a:lnSpc>
              <a:spcBef>
                <a:spcPct val="0"/>
              </a:spcBef>
              <a:spcAft>
                <a:spcPct val="0"/>
              </a:spcAft>
            </a:pPr>
            <a:endParaRPr lang="en-US" sz="4050" b="0" i="0" baseline="0" dirty="0" err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 baseline="0">
                <a:solidFill>
                  <a:schemeClr val="tx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647342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963557" y="2668041"/>
            <a:ext cx="7215368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960520" y="1424082"/>
            <a:ext cx="71379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eaLnBrk="1"/>
            <a:endParaRPr lang="en-US" sz="9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smtClean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NN Sustainability_check-point_4_14Oct2019_v12_stickers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8183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1534204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3725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50" b="0" i="0" baseline="0" dirty="0" err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 baseline="0">
                <a:solidFill>
                  <a:schemeClr val="tx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500" y="3826800"/>
            <a:ext cx="8202600" cy="2041200"/>
          </a:xfrm>
        </p:spPr>
        <p:txBody>
          <a:bodyPr anchor="t">
            <a:noAutofit/>
          </a:bodyPr>
          <a:lstStyle>
            <a:lvl1pPr>
              <a:defRPr sz="4050" baseline="0">
                <a:solidFill>
                  <a:schemeClr val="tx2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472501" y="3680016"/>
            <a:ext cx="8668940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3719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494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7" y="163284"/>
            <a:ext cx="7453313" cy="633412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Номер слайда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DDEF7-4D45-49A0-8BE1-BFE95F4A2986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25" name="number_snoska1" hidden="1"/>
          <p:cNvSpPr>
            <a:spLocks noGrp="1"/>
          </p:cNvSpPr>
          <p:nvPr>
            <p:ph type="body" sz="quarter" idx="13" hasCustomPrompt="1"/>
          </p:nvPr>
        </p:nvSpPr>
        <p:spPr>
          <a:xfrm>
            <a:off x="287421" y="6442126"/>
            <a:ext cx="72579" cy="108000"/>
          </a:xfrm>
        </p:spPr>
        <p:txBody>
          <a:bodyPr lIns="0" tIns="0" rIns="0" bIns="0" anchor="ctr">
            <a:noAutofit/>
          </a:bodyPr>
          <a:lstStyle>
            <a:lvl1pPr>
              <a:defRPr lang="ru-RU" sz="800" baseline="30000" dirty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1</a:t>
            </a:r>
            <a:endParaRPr lang="ru-RU" dirty="0"/>
          </a:p>
        </p:txBody>
      </p:sp>
      <p:sp>
        <p:nvSpPr>
          <p:cNvPr id="26" name="number_snoska2" hidden="1"/>
          <p:cNvSpPr>
            <a:spLocks noGrp="1"/>
          </p:cNvSpPr>
          <p:nvPr>
            <p:ph type="body" sz="quarter" idx="14" hasCustomPrompt="1"/>
          </p:nvPr>
        </p:nvSpPr>
        <p:spPr>
          <a:xfrm>
            <a:off x="287421" y="6587215"/>
            <a:ext cx="72579" cy="108000"/>
          </a:xfrm>
        </p:spPr>
        <p:txBody>
          <a:bodyPr lIns="0" tIns="0" rIns="0" bIns="0" anchor="ctr">
            <a:noAutofit/>
          </a:bodyPr>
          <a:lstStyle>
            <a:lvl1pPr>
              <a:defRPr lang="ru-RU" sz="800" baseline="30000" dirty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2</a:t>
            </a:r>
            <a:endParaRPr lang="ru-RU" dirty="0"/>
          </a:p>
        </p:txBody>
      </p:sp>
      <p:sp>
        <p:nvSpPr>
          <p:cNvPr id="28" name="snoska1" hidden="1"/>
          <p:cNvSpPr>
            <a:spLocks noGrp="1"/>
          </p:cNvSpPr>
          <p:nvPr>
            <p:ph type="body" sz="quarter" idx="15" hasCustomPrompt="1"/>
          </p:nvPr>
        </p:nvSpPr>
        <p:spPr>
          <a:xfrm>
            <a:off x="362269" y="6440967"/>
            <a:ext cx="8100000" cy="144000"/>
          </a:xfrm>
        </p:spPr>
        <p:txBody>
          <a:bodyPr lIns="0" tIns="0" rIns="0" bIns="0" anchor="ctr">
            <a:noAutofit/>
          </a:bodyPr>
          <a:lstStyle>
            <a:lvl1pPr>
              <a:defRPr lang="ru-RU" sz="1000" dirty="0" smtClean="0">
                <a:solidFill>
                  <a:schemeClr val="accent5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ru-RU" dirty="0"/>
              <a:t>Сноска 1</a:t>
            </a:r>
          </a:p>
        </p:txBody>
      </p:sp>
      <p:sp>
        <p:nvSpPr>
          <p:cNvPr id="29" name="snoska2" hidden="1"/>
          <p:cNvSpPr>
            <a:spLocks noGrp="1"/>
          </p:cNvSpPr>
          <p:nvPr>
            <p:ph type="body" sz="quarter" idx="16" hasCustomPrompt="1"/>
          </p:nvPr>
        </p:nvSpPr>
        <p:spPr>
          <a:xfrm>
            <a:off x="362269" y="6586567"/>
            <a:ext cx="8100000" cy="144000"/>
          </a:xfrm>
        </p:spPr>
        <p:txBody>
          <a:bodyPr lIns="0" tIns="0" rIns="0" bIns="0" anchor="ctr">
            <a:noAutofit/>
          </a:bodyPr>
          <a:lstStyle>
            <a:lvl1pPr>
              <a:defRPr lang="ru-RU" sz="1000" dirty="0" smtClean="0">
                <a:solidFill>
                  <a:schemeClr val="accent5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ru-RU" dirty="0"/>
              <a:t>Сноска </a:t>
            </a:r>
            <a:r>
              <a:rPr lang="en-US" dirty="0"/>
              <a:t>2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67721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7698496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4749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0" i="0" baseline="0" dirty="0" err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3048746" y="0"/>
            <a:ext cx="312713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8375904" y="6443508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647342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305963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eaLnBrk="1"/>
            <a:endParaRPr lang="en-US" sz="9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681103"/>
            <a:ext cx="234591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00">
                <a:solidFill>
                  <a:schemeClr val="tx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NN Sustainability_check-point_4_14Oct2019_v12_stickers.pptx</a:t>
            </a:r>
            <a:endParaRPr lang="en-US" sz="525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9134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7392481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5773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0" i="0" baseline="0" dirty="0" err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5374205" y="0"/>
            <a:ext cx="312713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537896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eaLnBrk="1"/>
            <a:endParaRPr lang="en-US" sz="9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8375904" y="6443508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647342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622801"/>
            <a:ext cx="4707397" cy="249299"/>
          </a:xfrm>
          <a:prstGeom prst="rect">
            <a:avLst/>
          </a:prstGeom>
        </p:spPr>
        <p:txBody>
          <a:bodyPr/>
          <a:lstStyle>
            <a:lvl1pPr>
              <a:defRPr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NN Sustainability_check-point_4_14Oct2019_v12_stickers.pptx</a:t>
            </a:r>
            <a:endParaRPr lang="en-US" sz="525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3270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7382240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6797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0" i="0" baseline="0" dirty="0" err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6771935" y="0"/>
            <a:ext cx="312713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677570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eaLnBrk="1"/>
            <a:endParaRPr lang="en-US" sz="9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647342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6443508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622801"/>
            <a:ext cx="6076188" cy="249299"/>
          </a:xfrm>
          <a:prstGeom prst="rect">
            <a:avLst/>
          </a:prstGeom>
        </p:spPr>
        <p:txBody>
          <a:bodyPr/>
          <a:lstStyle>
            <a:lvl1pPr>
              <a:defRPr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NN Sustainability_check-point_4_14Oct2019_v12_stickers.pptx</a:t>
            </a:r>
            <a:endParaRPr lang="en-US" sz="525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7897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967695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7821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0" i="0" baseline="0" dirty="0" err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2753302" y="0"/>
            <a:ext cx="312713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681103"/>
            <a:ext cx="234591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00">
                <a:solidFill>
                  <a:schemeClr val="bg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3060573" y="-1309"/>
            <a:ext cx="6083428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eaLnBrk="1"/>
            <a:endParaRPr lang="en-US" sz="9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 eaLnBrk="1">
              <a:defRPr baseline="0">
                <a:solidFill>
                  <a:schemeClr val="tx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647342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8375904" y="6443508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baseline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baseline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smtClean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NN Sustainability_check-point_4_14Oct2019_v12_stickers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9537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8845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300" b="0" i="0" baseline="0" dirty="0" err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4267187" y="0"/>
            <a:ext cx="312713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4572000" y="0"/>
            <a:ext cx="4572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eaLnBrk="1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569016" y="0"/>
            <a:ext cx="4574983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350" baseline="0"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500" y="1785600"/>
            <a:ext cx="32913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375904" y="6443508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baseline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 baseline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 eaLnBrk="1">
              <a:defRPr baseline="0">
                <a:solidFill>
                  <a:schemeClr val="tx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647342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smtClean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NN Sustainability_check-point_4_14Oct2019_v12_stickers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3645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9869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300" b="0" i="0" baseline="0" dirty="0" err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557387" y="0"/>
            <a:ext cx="312713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5864658" y="0"/>
            <a:ext cx="327934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eaLnBrk="1"/>
            <a:endParaRPr lang="en-US" sz="9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865019" y="0"/>
            <a:ext cx="3278981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200">
                <a:solidFill>
                  <a:schemeClr val="tx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 eaLnBrk="1">
              <a:defRPr baseline="0">
                <a:solidFill>
                  <a:schemeClr val="tx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647342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73202" y="1785600"/>
            <a:ext cx="4685664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>
                <a:solidFill>
                  <a:schemeClr val="bg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375904" y="6443508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baseline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 baseline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smtClean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NN Sustainability_check-point_4_14Oct2019_v12_stickers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0290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893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31478" y="3588018"/>
            <a:ext cx="1023938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143" y="1310"/>
            <a:ext cx="306623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eaLnBrk="1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647342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8375904" y="6443508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72500" y="2764204"/>
            <a:ext cx="1858979" cy="1314311"/>
          </a:xfrm>
        </p:spPr>
        <p:txBody>
          <a:bodyPr anchor="ctr" anchorCtr="0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kern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NN Sustainability_check-point_4_14Oct2019_v12_stickers.pptx</a:t>
            </a:r>
            <a:endParaRPr lang="en-US" sz="525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2482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917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0" i="0" baseline="0" dirty="0" err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143" y="1310"/>
            <a:ext cx="306623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eaLnBrk="1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764204"/>
            <a:ext cx="1858979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750" baseline="0">
                <a:solidFill>
                  <a:schemeClr val="tx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8375904" y="6443508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baseline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baseline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647342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smtClean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NN Sustainability_check-point_4_14Oct2019_v12_stickers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8" cstate="email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1605981" y="3402829"/>
            <a:ext cx="2021000" cy="3461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6084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2941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300" b="0" i="0" baseline="0" dirty="0" err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8375904" y="6443508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0" kern="12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647342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Copyright © 2019 by The Boston Consulting Group, Inc. All rights reserved.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00426" y="3382963"/>
            <a:ext cx="973931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entagon 3"/>
          <p:cNvSpPr/>
          <p:nvPr userDrawn="1"/>
        </p:nvSpPr>
        <p:spPr bwMode="white">
          <a:xfrm>
            <a:off x="1" y="0"/>
            <a:ext cx="407019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eaLnBrk="1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785600"/>
            <a:ext cx="304667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 b="0">
                <a:solidFill>
                  <a:schemeClr val="tx2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NN Sustainability_check-point_4_14Oct2019_v12_stickers.pptx</a:t>
            </a:r>
            <a:endParaRPr lang="en-US" sz="525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4190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3965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300" b="0" i="0" baseline="0" dirty="0" err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407019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eaLnBrk="1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785600"/>
            <a:ext cx="304667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00" b="0">
                <a:solidFill>
                  <a:srgbClr val="FFFFFF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750" baseline="0">
                <a:solidFill>
                  <a:schemeClr val="tx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8375904" y="6443508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baseline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baseline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647342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smtClean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NN Sustainability_check-point_4_14Oct2019_v12_stickers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8" cstate="email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62111" y="3416300"/>
            <a:ext cx="2021000" cy="344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9092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596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7" y="163284"/>
            <a:ext cx="7453313" cy="633412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Номер слайда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EDDEF7-4D45-49A0-8BE1-BFE95F4A2986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25" name="number_snoska1" hidden="1"/>
          <p:cNvSpPr>
            <a:spLocks noGrp="1"/>
          </p:cNvSpPr>
          <p:nvPr>
            <p:ph type="body" sz="quarter" idx="13" hasCustomPrompt="1"/>
          </p:nvPr>
        </p:nvSpPr>
        <p:spPr>
          <a:xfrm>
            <a:off x="287421" y="6442126"/>
            <a:ext cx="72579" cy="108000"/>
          </a:xfrm>
        </p:spPr>
        <p:txBody>
          <a:bodyPr lIns="0" tIns="0" rIns="0" bIns="0" anchor="ctr">
            <a:noAutofit/>
          </a:bodyPr>
          <a:lstStyle>
            <a:lvl1pPr>
              <a:defRPr lang="ru-RU" sz="800" baseline="30000" dirty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1</a:t>
            </a:r>
            <a:endParaRPr lang="ru-RU" dirty="0"/>
          </a:p>
        </p:txBody>
      </p:sp>
      <p:sp>
        <p:nvSpPr>
          <p:cNvPr id="26" name="number_snoska2" hidden="1"/>
          <p:cNvSpPr>
            <a:spLocks noGrp="1"/>
          </p:cNvSpPr>
          <p:nvPr>
            <p:ph type="body" sz="quarter" idx="14" hasCustomPrompt="1"/>
          </p:nvPr>
        </p:nvSpPr>
        <p:spPr>
          <a:xfrm>
            <a:off x="287421" y="6587215"/>
            <a:ext cx="72579" cy="108000"/>
          </a:xfrm>
        </p:spPr>
        <p:txBody>
          <a:bodyPr lIns="0" tIns="0" rIns="0" bIns="0" anchor="ctr">
            <a:noAutofit/>
          </a:bodyPr>
          <a:lstStyle>
            <a:lvl1pPr>
              <a:defRPr lang="ru-RU" sz="800" baseline="30000" dirty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2</a:t>
            </a:r>
            <a:endParaRPr lang="ru-RU" dirty="0"/>
          </a:p>
        </p:txBody>
      </p:sp>
      <p:sp>
        <p:nvSpPr>
          <p:cNvPr id="28" name="snoska1" hidden="1"/>
          <p:cNvSpPr>
            <a:spLocks noGrp="1"/>
          </p:cNvSpPr>
          <p:nvPr>
            <p:ph type="body" sz="quarter" idx="15" hasCustomPrompt="1"/>
          </p:nvPr>
        </p:nvSpPr>
        <p:spPr>
          <a:xfrm>
            <a:off x="362269" y="6440967"/>
            <a:ext cx="8100000" cy="144000"/>
          </a:xfrm>
        </p:spPr>
        <p:txBody>
          <a:bodyPr lIns="0" tIns="0" rIns="0" bIns="0" anchor="ctr">
            <a:noAutofit/>
          </a:bodyPr>
          <a:lstStyle>
            <a:lvl1pPr>
              <a:defRPr lang="ru-RU" sz="1000" dirty="0" smtClean="0">
                <a:solidFill>
                  <a:schemeClr val="accent5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ru-RU" dirty="0"/>
              <a:t>Сноска 1</a:t>
            </a:r>
          </a:p>
        </p:txBody>
      </p:sp>
      <p:sp>
        <p:nvSpPr>
          <p:cNvPr id="29" name="snoska2" hidden="1"/>
          <p:cNvSpPr>
            <a:spLocks noGrp="1"/>
          </p:cNvSpPr>
          <p:nvPr>
            <p:ph type="body" sz="quarter" idx="16" hasCustomPrompt="1"/>
          </p:nvPr>
        </p:nvSpPr>
        <p:spPr>
          <a:xfrm>
            <a:off x="362269" y="6586567"/>
            <a:ext cx="8100000" cy="144000"/>
          </a:xfrm>
        </p:spPr>
        <p:txBody>
          <a:bodyPr lIns="0" tIns="0" rIns="0" bIns="0" anchor="ctr">
            <a:noAutofit/>
          </a:bodyPr>
          <a:lstStyle>
            <a:lvl1pPr>
              <a:defRPr lang="ru-RU" sz="1000" dirty="0" smtClean="0">
                <a:solidFill>
                  <a:schemeClr val="accent5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ru-RU" dirty="0"/>
              <a:t>Сноска </a:t>
            </a:r>
            <a:r>
              <a:rPr lang="en-US" dirty="0"/>
              <a:t>2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9652045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4989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0" i="0" baseline="0" dirty="0" err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34068" y="3588018"/>
            <a:ext cx="1023938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entagon 8"/>
          <p:cNvSpPr/>
          <p:nvPr/>
        </p:nvSpPr>
        <p:spPr bwMode="white">
          <a:xfrm>
            <a:off x="0" y="0"/>
            <a:ext cx="477266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eaLnBrk="1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622801"/>
            <a:ext cx="3560867" cy="249299"/>
          </a:xfrm>
          <a:prstGeom prst="rect">
            <a:avLst/>
          </a:prstGeom>
        </p:spPr>
        <p:txBody>
          <a:bodyPr/>
          <a:lstStyle>
            <a:lvl1pPr>
              <a:defRPr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647342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8375904" y="6443508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NN Sustainability_check-point_4_14Oct2019_v12_stickers.pptx</a:t>
            </a:r>
            <a:endParaRPr lang="en-US" sz="525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755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6013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0" i="0" baseline="0" dirty="0" err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477266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eaLnBrk="1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622801"/>
            <a:ext cx="3560867" cy="2492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750" baseline="0">
                <a:solidFill>
                  <a:schemeClr val="tx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8375904" y="6443508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baseline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baseline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647342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smtClean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NN Sustainability_check-point_4_14Oct2019_v12_stickers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8" cstate="email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3321316" y="3407804"/>
            <a:ext cx="2021000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0220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7037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0" i="0" baseline="0" dirty="0" err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17756" y="3588018"/>
            <a:ext cx="1023938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633467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eaLnBrk="1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647342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6443508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622801"/>
            <a:ext cx="4690872" cy="249299"/>
          </a:xfrm>
          <a:prstGeom prst="rect">
            <a:avLst/>
          </a:prstGeom>
        </p:spPr>
        <p:txBody>
          <a:bodyPr/>
          <a:lstStyle>
            <a:lvl1pPr>
              <a:defRPr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NN Sustainability_check-point_4_14Oct2019_v12_stickers.pptx</a:t>
            </a:r>
            <a:endParaRPr lang="en-US" sz="525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6370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8061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0" i="0" baseline="0" dirty="0" err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633467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eaLnBrk="1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622801"/>
            <a:ext cx="4690872" cy="2492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750" baseline="0">
                <a:solidFill>
                  <a:schemeClr val="tx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8375904" y="6443508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baseline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baseline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647342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smtClean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NN Sustainability_check-point_4_14Oct2019_v12_stickers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8" cstate="email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893577" y="3407804"/>
            <a:ext cx="2021000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9957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9085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4500"/>
              </a:lnSpc>
              <a:spcBef>
                <a:spcPct val="0"/>
              </a:spcBef>
              <a:spcAft>
                <a:spcPct val="0"/>
              </a:spcAft>
            </a:pPr>
            <a:endParaRPr lang="en-US" sz="4050" b="0" i="0" baseline="0" dirty="0" err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647342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8375904" y="6443508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3826333"/>
            <a:ext cx="8199900" cy="1606550"/>
          </a:xfr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NN Sustainability_check-point_4_14Oct2019_v12_stickers.pptx</a:t>
            </a:r>
            <a:endParaRPr lang="en-US" sz="525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6595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109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4500"/>
              </a:lnSpc>
              <a:spcBef>
                <a:spcPct val="0"/>
              </a:spcBef>
              <a:spcAft>
                <a:spcPct val="0"/>
              </a:spcAft>
            </a:pPr>
            <a:endParaRPr lang="en-US" sz="4050" b="0" i="0" baseline="0" dirty="0" err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647342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472500" y="625475"/>
            <a:ext cx="699516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eaLnBrk="1"/>
            <a:endParaRPr lang="en-US" sz="9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3826333"/>
            <a:ext cx="81999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6858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defRPr lang="en-US" sz="4050" kern="1200" baseline="0" dirty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smtClean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NN Sustainability_check-point_4_14Oct2019_v12_stickers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0987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002C5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113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5001939" y="1363446"/>
            <a:ext cx="769257" cy="7514866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9144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pPr eaLnBrk="1"/>
            <a:endParaRPr lang="en-US" sz="135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375904" y="6443508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9217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rgbClr val="9D9E9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2157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0" i="0" baseline="0" dirty="0" err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 bwMode="white">
          <a:xfrm>
            <a:off x="8375904" y="6442872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647342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622801"/>
            <a:ext cx="8199900" cy="2492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NN Sustainability_check-point_4_14Oct2019_v12_stickers.pptx</a:t>
            </a:r>
            <a:endParaRPr lang="en-US" sz="525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3264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3181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31478" y="3594368"/>
            <a:ext cx="1023938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306623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eaLnBrk="1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306623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eaLnBrk="1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72500" y="2798187"/>
            <a:ext cx="2114550" cy="132125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525"/>
              </a:spcAft>
              <a:buFontTx/>
              <a:buNone/>
            </a:pPr>
            <a:r>
              <a:rPr lang="en-US" sz="405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647342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8375904" y="6443508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NN Sustainability_check-point_4_14Oct2019_v12_stickers.pptx</a:t>
            </a:r>
            <a:endParaRPr lang="en-US" sz="525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832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4205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647342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8375904" y="6443508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NN Sustainability_check-point_4_14Oct2019_v12_stickers.pptx</a:t>
            </a:r>
            <a:endParaRPr lang="en-US" sz="525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305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67"/>
          <p:cNvSpPr>
            <a:spLocks noChangeShapeType="1"/>
          </p:cNvSpPr>
          <p:nvPr/>
        </p:nvSpPr>
        <p:spPr bwMode="auto">
          <a:xfrm>
            <a:off x="8784648" y="2516917"/>
            <a:ext cx="0" cy="1339272"/>
          </a:xfrm>
          <a:prstGeom prst="line">
            <a:avLst/>
          </a:prstGeom>
          <a:noFill/>
          <a:ln w="76200">
            <a:solidFill>
              <a:schemeClr val="folHlink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ru-RU" sz="1837" dirty="0" smtClean="0">
              <a:solidFill>
                <a:srgbClr val="000000"/>
              </a:solidFill>
            </a:endParaRPr>
          </a:p>
        </p:txBody>
      </p:sp>
      <p:grpSp>
        <p:nvGrpSpPr>
          <p:cNvPr id="6" name="Group 69"/>
          <p:cNvGrpSpPr>
            <a:grpSpLocks/>
          </p:cNvGrpSpPr>
          <p:nvPr/>
        </p:nvGrpSpPr>
        <p:grpSpPr bwMode="auto">
          <a:xfrm>
            <a:off x="-1014547" y="344928"/>
            <a:ext cx="877456" cy="4469534"/>
            <a:chOff x="-703" y="239"/>
            <a:chExt cx="608" cy="3097"/>
          </a:xfrm>
        </p:grpSpPr>
        <p:sp>
          <p:nvSpPr>
            <p:cNvPr id="7" name="LAYOUT HEADER"/>
            <p:cNvSpPr txBox="1">
              <a:spLocks noChangeArrowheads="1"/>
            </p:cNvSpPr>
            <p:nvPr userDrawn="1">
              <p:custDataLst>
                <p:tags r:id="rId1"/>
              </p:custDataLst>
            </p:nvPr>
          </p:nvSpPr>
          <p:spPr bwMode="auto">
            <a:xfrm>
              <a:off x="-703" y="239"/>
              <a:ext cx="599" cy="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38100"/>
            <a:lstStyle>
              <a:lvl1pPr>
                <a:defRPr sz="1300" b="1">
                  <a:solidFill>
                    <a:srgbClr val="164463"/>
                  </a:solidFill>
                  <a:latin typeface="Arial" pitchFamily="34" charset="0"/>
                  <a:ea typeface="Batang" pitchFamily="18" charset="-127"/>
                </a:defRPr>
              </a:lvl1pPr>
              <a:lvl2pPr marL="742950" indent="-285750">
                <a:defRPr sz="1300" b="1">
                  <a:solidFill>
                    <a:srgbClr val="164463"/>
                  </a:solidFill>
                  <a:latin typeface="Arial" pitchFamily="34" charset="0"/>
                  <a:ea typeface="Batang" pitchFamily="18" charset="-127"/>
                </a:defRPr>
              </a:lvl2pPr>
              <a:lvl3pPr marL="1143000" indent="-228600">
                <a:defRPr sz="1300" b="1">
                  <a:solidFill>
                    <a:srgbClr val="164463"/>
                  </a:solidFill>
                  <a:latin typeface="Arial" pitchFamily="34" charset="0"/>
                  <a:ea typeface="Batang" pitchFamily="18" charset="-127"/>
                </a:defRPr>
              </a:lvl3pPr>
              <a:lvl4pPr marL="1600200" indent="-228600">
                <a:defRPr sz="1300" b="1">
                  <a:solidFill>
                    <a:srgbClr val="164463"/>
                  </a:solidFill>
                  <a:latin typeface="Arial" pitchFamily="34" charset="0"/>
                  <a:ea typeface="Batang" pitchFamily="18" charset="-127"/>
                </a:defRPr>
              </a:lvl4pPr>
              <a:lvl5pPr marL="2057400" indent="-228600">
                <a:defRPr sz="1300" b="1">
                  <a:solidFill>
                    <a:srgbClr val="164463"/>
                  </a:solidFill>
                  <a:latin typeface="Arial" pitchFamily="34" charset="0"/>
                  <a:ea typeface="Batang" pitchFamily="18" charset="-127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1300" b="1">
                  <a:solidFill>
                    <a:srgbClr val="164463"/>
                  </a:solidFill>
                  <a:latin typeface="Arial" pitchFamily="34" charset="0"/>
                  <a:ea typeface="Batang" pitchFamily="18" charset="-127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1300" b="1">
                  <a:solidFill>
                    <a:srgbClr val="164463"/>
                  </a:solidFill>
                  <a:latin typeface="Arial" pitchFamily="34" charset="0"/>
                  <a:ea typeface="Batang" pitchFamily="18" charset="-127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1300" b="1">
                  <a:solidFill>
                    <a:srgbClr val="164463"/>
                  </a:solidFill>
                  <a:latin typeface="Arial" pitchFamily="34" charset="0"/>
                  <a:ea typeface="Batang" pitchFamily="18" charset="-127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1300" b="1">
                  <a:solidFill>
                    <a:srgbClr val="164463"/>
                  </a:solidFill>
                  <a:latin typeface="Arial" pitchFamily="34" charset="0"/>
                  <a:ea typeface="Batang" pitchFamily="18" charset="-127"/>
                </a:defRPr>
              </a:lvl9pPr>
            </a:lstStyle>
            <a:p>
              <a:pPr>
                <a:defRPr/>
              </a:pPr>
              <a:r>
                <a:rPr lang="en-GB" sz="1020" dirty="0" smtClea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Colour palette</a:t>
              </a:r>
            </a:p>
          </p:txBody>
        </p:sp>
        <p:sp>
          <p:nvSpPr>
            <p:cNvPr id="8" name="Rectangle 71"/>
            <p:cNvSpPr>
              <a:spLocks noChangeArrowheads="1"/>
            </p:cNvSpPr>
            <p:nvPr userDrawn="1"/>
          </p:nvSpPr>
          <p:spPr bwMode="gray">
            <a:xfrm rot="-5400000">
              <a:off x="-714" y="2329"/>
              <a:ext cx="275" cy="254"/>
            </a:xfrm>
            <a:prstGeom prst="rect">
              <a:avLst/>
            </a:pr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lIns="0" tIns="0" rIns="0" bIns="0" anchor="ctr"/>
            <a:lstStyle/>
            <a:p>
              <a:pPr algn="ctr"/>
              <a:r>
                <a:rPr lang="en-GB" sz="714" dirty="0" smtClean="0">
                  <a:solidFill>
                    <a:srgbClr val="000000"/>
                  </a:solidFill>
                </a:rPr>
                <a:t>236</a:t>
              </a:r>
            </a:p>
            <a:p>
              <a:pPr algn="ctr"/>
              <a:r>
                <a:rPr lang="en-GB" sz="714" dirty="0" smtClean="0">
                  <a:solidFill>
                    <a:srgbClr val="000000"/>
                  </a:solidFill>
                </a:rPr>
                <a:t>236</a:t>
              </a:r>
            </a:p>
            <a:p>
              <a:pPr algn="ctr"/>
              <a:r>
                <a:rPr lang="en-GB" sz="714" dirty="0" smtClean="0">
                  <a:solidFill>
                    <a:srgbClr val="000000"/>
                  </a:solidFill>
                </a:rPr>
                <a:t>236</a:t>
              </a:r>
            </a:p>
          </p:txBody>
        </p:sp>
        <p:sp>
          <p:nvSpPr>
            <p:cNvPr id="9" name="Rectangle 72"/>
            <p:cNvSpPr>
              <a:spLocks noChangeArrowheads="1"/>
            </p:cNvSpPr>
            <p:nvPr userDrawn="1"/>
          </p:nvSpPr>
          <p:spPr bwMode="gray">
            <a:xfrm rot="-5400000">
              <a:off x="-713" y="1212"/>
              <a:ext cx="274" cy="25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lIns="0" tIns="0" rIns="0" bIns="0" anchor="ctr"/>
            <a:lstStyle/>
            <a:p>
              <a:pPr algn="ctr"/>
              <a:r>
                <a:rPr lang="en-GB" sz="714" dirty="0" smtClean="0">
                  <a:solidFill>
                    <a:srgbClr val="FFFFFF"/>
                  </a:solidFill>
                </a:rPr>
                <a:t>0</a:t>
              </a:r>
            </a:p>
            <a:p>
              <a:pPr algn="ctr"/>
              <a:r>
                <a:rPr lang="en-GB" sz="714" dirty="0" smtClean="0">
                  <a:solidFill>
                    <a:srgbClr val="FFFFFF"/>
                  </a:solidFill>
                </a:rPr>
                <a:t>0</a:t>
              </a:r>
            </a:p>
            <a:p>
              <a:pPr algn="ctr"/>
              <a:r>
                <a:rPr lang="en-GB" sz="714" dirty="0" smtClean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10" name="Rectangle 73"/>
            <p:cNvSpPr>
              <a:spLocks noChangeArrowheads="1"/>
            </p:cNvSpPr>
            <p:nvPr userDrawn="1"/>
          </p:nvSpPr>
          <p:spPr bwMode="gray">
            <a:xfrm rot="-5400000">
              <a:off x="-713" y="469"/>
              <a:ext cx="274" cy="25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lIns="0" tIns="0" rIns="0" bIns="0" anchor="ctr"/>
            <a:lstStyle/>
            <a:p>
              <a:pPr algn="ctr"/>
              <a:r>
                <a:rPr lang="en-GB" sz="714" dirty="0" smtClean="0">
                  <a:solidFill>
                    <a:srgbClr val="FFFFFF"/>
                  </a:solidFill>
                </a:rPr>
                <a:t>35</a:t>
              </a:r>
            </a:p>
            <a:p>
              <a:pPr algn="ctr"/>
              <a:r>
                <a:rPr lang="en-GB" sz="714" dirty="0" smtClean="0">
                  <a:solidFill>
                    <a:srgbClr val="FFFFFF"/>
                  </a:solidFill>
                </a:rPr>
                <a:t>108</a:t>
              </a:r>
            </a:p>
            <a:p>
              <a:pPr algn="ctr"/>
              <a:r>
                <a:rPr lang="en-GB" sz="714" dirty="0" smtClean="0">
                  <a:solidFill>
                    <a:srgbClr val="FFFFFF"/>
                  </a:solidFill>
                </a:rPr>
                <a:t>176</a:t>
              </a:r>
            </a:p>
          </p:txBody>
        </p:sp>
        <p:sp>
          <p:nvSpPr>
            <p:cNvPr id="11" name="Rectangle 74"/>
            <p:cNvSpPr>
              <a:spLocks noChangeArrowheads="1"/>
            </p:cNvSpPr>
            <p:nvPr userDrawn="1"/>
          </p:nvSpPr>
          <p:spPr bwMode="gray">
            <a:xfrm rot="-5400000">
              <a:off x="-714" y="2701"/>
              <a:ext cx="275" cy="254"/>
            </a:xfrm>
            <a:prstGeom prst="rect">
              <a:avLst/>
            </a:prstGeom>
            <a:solidFill>
              <a:srgbClr val="B5CE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lIns="0" tIns="0" rIns="0" bIns="0" anchor="ctr"/>
            <a:lstStyle/>
            <a:p>
              <a:pPr algn="ctr"/>
              <a:r>
                <a:rPr lang="en-GB" sz="714" dirty="0" smtClean="0">
                  <a:solidFill>
                    <a:srgbClr val="000000"/>
                  </a:solidFill>
                </a:rPr>
                <a:t>181</a:t>
              </a:r>
            </a:p>
            <a:p>
              <a:pPr algn="ctr"/>
              <a:r>
                <a:rPr lang="en-GB" sz="714" dirty="0" smtClean="0">
                  <a:solidFill>
                    <a:srgbClr val="000000"/>
                  </a:solidFill>
                </a:rPr>
                <a:t>206</a:t>
              </a:r>
            </a:p>
            <a:p>
              <a:pPr algn="ctr"/>
              <a:r>
                <a:rPr lang="en-GB" sz="714" dirty="0" smtClean="0">
                  <a:solidFill>
                    <a:srgbClr val="000000"/>
                  </a:solidFill>
                </a:rPr>
                <a:t>229</a:t>
              </a:r>
            </a:p>
          </p:txBody>
        </p:sp>
        <p:sp>
          <p:nvSpPr>
            <p:cNvPr id="12" name="Rectangle 75"/>
            <p:cNvSpPr>
              <a:spLocks noChangeArrowheads="1"/>
            </p:cNvSpPr>
            <p:nvPr userDrawn="1"/>
          </p:nvSpPr>
          <p:spPr bwMode="gray">
            <a:xfrm rot="-5400000">
              <a:off x="-714" y="840"/>
              <a:ext cx="275" cy="254"/>
            </a:xfrm>
            <a:prstGeom prst="rect">
              <a:avLst/>
            </a:prstGeom>
            <a:solidFill>
              <a:schemeClr val="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lIns="0" tIns="0" rIns="0" bIns="0" anchor="ctr"/>
            <a:lstStyle/>
            <a:p>
              <a:pPr algn="ctr"/>
              <a:r>
                <a:rPr lang="en-GB" sz="714" dirty="0" smtClean="0">
                  <a:solidFill>
                    <a:srgbClr val="FFFFFF"/>
                  </a:solidFill>
                </a:rPr>
                <a:t>151</a:t>
              </a:r>
            </a:p>
            <a:p>
              <a:pPr algn="ctr"/>
              <a:r>
                <a:rPr lang="en-GB" sz="714" dirty="0" smtClean="0">
                  <a:solidFill>
                    <a:srgbClr val="FFFFFF"/>
                  </a:solidFill>
                </a:rPr>
                <a:t>151</a:t>
              </a:r>
            </a:p>
            <a:p>
              <a:pPr algn="ctr"/>
              <a:r>
                <a:rPr lang="en-GB" sz="714" dirty="0" smtClean="0">
                  <a:solidFill>
                    <a:srgbClr val="FFFFFF"/>
                  </a:solidFill>
                </a:rPr>
                <a:t>151</a:t>
              </a:r>
            </a:p>
          </p:txBody>
        </p:sp>
        <p:sp>
          <p:nvSpPr>
            <p:cNvPr id="13" name="Rectangle 76"/>
            <p:cNvSpPr>
              <a:spLocks noChangeArrowheads="1"/>
            </p:cNvSpPr>
            <p:nvPr userDrawn="1"/>
          </p:nvSpPr>
          <p:spPr bwMode="gray">
            <a:xfrm rot="-5400000">
              <a:off x="-713" y="1956"/>
              <a:ext cx="274" cy="254"/>
            </a:xfrm>
            <a:prstGeom prst="rect">
              <a:avLst/>
            </a:prstGeom>
            <a:solidFill>
              <a:srgbClr val="D60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lIns="0" tIns="0" rIns="0" bIns="0" anchor="ctr"/>
            <a:lstStyle/>
            <a:p>
              <a:pPr algn="ctr"/>
              <a:r>
                <a:rPr lang="en-GB" sz="714" dirty="0" smtClean="0">
                  <a:solidFill>
                    <a:srgbClr val="FFFFFF"/>
                  </a:solidFill>
                </a:rPr>
                <a:t>214</a:t>
              </a:r>
            </a:p>
            <a:p>
              <a:pPr algn="ctr"/>
              <a:r>
                <a:rPr lang="en-GB" sz="714" dirty="0" smtClean="0">
                  <a:solidFill>
                    <a:srgbClr val="FFFFFF"/>
                  </a:solidFill>
                </a:rPr>
                <a:t>5</a:t>
              </a:r>
            </a:p>
            <a:p>
              <a:pPr algn="ctr"/>
              <a:r>
                <a:rPr lang="en-GB" sz="714" dirty="0" smtClean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14" name="Rectangle 77"/>
            <p:cNvSpPr>
              <a:spLocks noChangeArrowheads="1"/>
            </p:cNvSpPr>
            <p:nvPr userDrawn="1"/>
          </p:nvSpPr>
          <p:spPr bwMode="gray">
            <a:xfrm rot="-5400000">
              <a:off x="-713" y="3072"/>
              <a:ext cx="274" cy="254"/>
            </a:xfrm>
            <a:prstGeom prst="rect">
              <a:avLst/>
            </a:prstGeom>
            <a:solidFill>
              <a:srgbClr val="4981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lIns="0" tIns="0" rIns="0" bIns="0" anchor="ctr"/>
            <a:lstStyle/>
            <a:p>
              <a:pPr algn="ctr"/>
              <a:r>
                <a:rPr lang="en-GB" sz="714" dirty="0" smtClean="0">
                  <a:solidFill>
                    <a:srgbClr val="FFFFFF"/>
                  </a:solidFill>
                </a:rPr>
                <a:t>73</a:t>
              </a:r>
            </a:p>
            <a:p>
              <a:pPr algn="ctr"/>
              <a:r>
                <a:rPr lang="en-GB" sz="714" dirty="0" smtClean="0">
                  <a:solidFill>
                    <a:srgbClr val="FFFFFF"/>
                  </a:solidFill>
                </a:rPr>
                <a:t>129</a:t>
              </a:r>
            </a:p>
            <a:p>
              <a:pPr algn="ctr"/>
              <a:r>
                <a:rPr lang="en-GB" sz="714" dirty="0" smtClean="0">
                  <a:solidFill>
                    <a:srgbClr val="FFFFFF"/>
                  </a:solidFill>
                </a:rPr>
                <a:t>191</a:t>
              </a:r>
            </a:p>
          </p:txBody>
        </p:sp>
        <p:sp>
          <p:nvSpPr>
            <p:cNvPr id="15" name="Rectangle 78"/>
            <p:cNvSpPr>
              <a:spLocks noChangeArrowheads="1"/>
            </p:cNvSpPr>
            <p:nvPr userDrawn="1"/>
          </p:nvSpPr>
          <p:spPr bwMode="gray">
            <a:xfrm rot="-5400000">
              <a:off x="-713" y="1584"/>
              <a:ext cx="274" cy="25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lIns="0" tIns="0" rIns="0" bIns="0" anchor="ctr"/>
            <a:lstStyle/>
            <a:p>
              <a:pPr algn="ctr"/>
              <a:r>
                <a:rPr lang="en-GB" sz="714" dirty="0" smtClean="0">
                  <a:solidFill>
                    <a:srgbClr val="FFFFFF"/>
                  </a:solidFill>
                </a:rPr>
                <a:t>20</a:t>
              </a:r>
            </a:p>
            <a:p>
              <a:pPr algn="ctr"/>
              <a:r>
                <a:rPr lang="en-GB" sz="714" dirty="0" smtClean="0">
                  <a:solidFill>
                    <a:srgbClr val="FFFFFF"/>
                  </a:solidFill>
                </a:rPr>
                <a:t>68</a:t>
              </a:r>
            </a:p>
            <a:p>
              <a:pPr algn="ctr"/>
              <a:r>
                <a:rPr lang="en-GB" sz="714" dirty="0" smtClean="0">
                  <a:solidFill>
                    <a:srgbClr val="FFFFFF"/>
                  </a:solidFill>
                </a:rPr>
                <a:t>108</a:t>
              </a:r>
            </a:p>
          </p:txBody>
        </p:sp>
        <p:sp>
          <p:nvSpPr>
            <p:cNvPr id="16" name="Rectangle 79"/>
            <p:cNvSpPr>
              <a:spLocks noChangeArrowheads="1"/>
            </p:cNvSpPr>
            <p:nvPr userDrawn="1"/>
          </p:nvSpPr>
          <p:spPr bwMode="gray">
            <a:xfrm rot="-5400000">
              <a:off x="-360" y="2329"/>
              <a:ext cx="275" cy="254"/>
            </a:xfrm>
            <a:prstGeom prst="rect">
              <a:avLst/>
            </a:prstGeom>
            <a:solidFill>
              <a:srgbClr val="409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lIns="0" tIns="0" rIns="0" bIns="0" anchor="ctr"/>
            <a:lstStyle/>
            <a:p>
              <a:pPr algn="ctr"/>
              <a:r>
                <a:rPr lang="en-GB" sz="714" dirty="0" smtClean="0">
                  <a:solidFill>
                    <a:srgbClr val="FFFFFF"/>
                  </a:solidFill>
                </a:rPr>
                <a:t>64</a:t>
              </a:r>
            </a:p>
            <a:p>
              <a:pPr algn="ctr"/>
              <a:r>
                <a:rPr lang="en-GB" sz="714" dirty="0" smtClean="0">
                  <a:solidFill>
                    <a:srgbClr val="FFFFFF"/>
                  </a:solidFill>
                </a:rPr>
                <a:t>149</a:t>
              </a:r>
            </a:p>
            <a:p>
              <a:pPr algn="ctr"/>
              <a:r>
                <a:rPr lang="en-GB" sz="714" dirty="0" smtClean="0">
                  <a:solidFill>
                    <a:srgbClr val="FFFFFF"/>
                  </a:solidFill>
                </a:rPr>
                <a:t>220</a:t>
              </a:r>
            </a:p>
          </p:txBody>
        </p:sp>
        <p:sp>
          <p:nvSpPr>
            <p:cNvPr id="17" name="Rectangle 80"/>
            <p:cNvSpPr>
              <a:spLocks noChangeArrowheads="1"/>
            </p:cNvSpPr>
            <p:nvPr userDrawn="1"/>
          </p:nvSpPr>
          <p:spPr bwMode="gray">
            <a:xfrm rot="-5400000">
              <a:off x="-359" y="1212"/>
              <a:ext cx="274" cy="25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lIns="0" tIns="0" rIns="0" bIns="0" anchor="ctr"/>
            <a:lstStyle/>
            <a:p>
              <a:pPr algn="ctr"/>
              <a:r>
                <a:rPr lang="en-GB" sz="714" dirty="0" smtClean="0">
                  <a:solidFill>
                    <a:srgbClr val="000000"/>
                  </a:solidFill>
                </a:rPr>
                <a:t>226</a:t>
              </a:r>
            </a:p>
            <a:p>
              <a:pPr algn="ctr"/>
              <a:r>
                <a:rPr lang="en-GB" sz="714" dirty="0" smtClean="0">
                  <a:solidFill>
                    <a:srgbClr val="000000"/>
                  </a:solidFill>
                </a:rPr>
                <a:t>229</a:t>
              </a:r>
            </a:p>
            <a:p>
              <a:pPr algn="ctr"/>
              <a:r>
                <a:rPr lang="en-GB" sz="714" dirty="0" smtClean="0">
                  <a:solidFill>
                    <a:srgbClr val="000000"/>
                  </a:solidFill>
                </a:rPr>
                <a:t>234</a:t>
              </a:r>
            </a:p>
          </p:txBody>
        </p:sp>
        <p:sp>
          <p:nvSpPr>
            <p:cNvPr id="18" name="Rectangle 81"/>
            <p:cNvSpPr>
              <a:spLocks noChangeArrowheads="1"/>
            </p:cNvSpPr>
            <p:nvPr userDrawn="1"/>
          </p:nvSpPr>
          <p:spPr bwMode="gray">
            <a:xfrm rot="-5400000">
              <a:off x="-359" y="469"/>
              <a:ext cx="274" cy="25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lIns="0" tIns="0" rIns="0" bIns="0" anchor="ctr"/>
            <a:lstStyle/>
            <a:p>
              <a:pPr algn="ctr"/>
              <a:r>
                <a:rPr lang="en-GB" sz="714" dirty="0" smtClean="0">
                  <a:solidFill>
                    <a:srgbClr val="000000"/>
                  </a:solidFill>
                </a:rPr>
                <a:t>204</a:t>
              </a:r>
            </a:p>
            <a:p>
              <a:pPr algn="ctr"/>
              <a:r>
                <a:rPr lang="en-GB" sz="714" dirty="0" smtClean="0">
                  <a:solidFill>
                    <a:srgbClr val="000000"/>
                  </a:solidFill>
                </a:rPr>
                <a:t>221</a:t>
              </a:r>
            </a:p>
            <a:p>
              <a:pPr algn="ctr"/>
              <a:r>
                <a:rPr lang="en-GB" sz="714" dirty="0" smtClean="0">
                  <a:solidFill>
                    <a:srgbClr val="000000"/>
                  </a:solidFill>
                </a:rPr>
                <a:t>237</a:t>
              </a:r>
            </a:p>
          </p:txBody>
        </p:sp>
        <p:sp>
          <p:nvSpPr>
            <p:cNvPr id="19" name="Rectangle 82"/>
            <p:cNvSpPr>
              <a:spLocks noChangeArrowheads="1"/>
            </p:cNvSpPr>
            <p:nvPr userDrawn="1"/>
          </p:nvSpPr>
          <p:spPr bwMode="gray">
            <a:xfrm rot="-5400000">
              <a:off x="-360" y="2701"/>
              <a:ext cx="275" cy="254"/>
            </a:xfrm>
            <a:prstGeom prst="rect">
              <a:avLst/>
            </a:prstGeom>
            <a:solidFill>
              <a:srgbClr val="F8CD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lIns="0" tIns="0" rIns="0" bIns="0" anchor="ctr"/>
            <a:lstStyle/>
            <a:p>
              <a:pPr algn="ctr"/>
              <a:r>
                <a:rPr lang="en-GB" sz="714" dirty="0" smtClean="0">
                  <a:solidFill>
                    <a:srgbClr val="000000"/>
                  </a:solidFill>
                </a:rPr>
                <a:t>248</a:t>
              </a:r>
            </a:p>
            <a:p>
              <a:pPr algn="ctr"/>
              <a:r>
                <a:rPr lang="en-GB" sz="714" dirty="0" smtClean="0">
                  <a:solidFill>
                    <a:srgbClr val="000000"/>
                  </a:solidFill>
                </a:rPr>
                <a:t>205</a:t>
              </a:r>
            </a:p>
            <a:p>
              <a:pPr algn="ctr"/>
              <a:r>
                <a:rPr lang="en-GB" sz="714" dirty="0" smtClean="0">
                  <a:solidFill>
                    <a:srgbClr val="000000"/>
                  </a:solidFill>
                </a:rPr>
                <a:t>162</a:t>
              </a:r>
            </a:p>
          </p:txBody>
        </p:sp>
        <p:sp>
          <p:nvSpPr>
            <p:cNvPr id="20" name="Rectangle 83"/>
            <p:cNvSpPr>
              <a:spLocks noChangeArrowheads="1"/>
            </p:cNvSpPr>
            <p:nvPr userDrawn="1"/>
          </p:nvSpPr>
          <p:spPr bwMode="gray">
            <a:xfrm rot="-5400000">
              <a:off x="-360" y="840"/>
              <a:ext cx="275" cy="254"/>
            </a:xfrm>
            <a:prstGeom prst="rect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lIns="0" tIns="0" rIns="0" bIns="0" anchor="ctr"/>
            <a:lstStyle/>
            <a:p>
              <a:pPr algn="ctr"/>
              <a:r>
                <a:rPr lang="en-GB" sz="714" dirty="0" smtClean="0">
                  <a:solidFill>
                    <a:srgbClr val="000000"/>
                  </a:solidFill>
                </a:rPr>
                <a:t>240</a:t>
              </a:r>
            </a:p>
            <a:p>
              <a:pPr algn="ctr"/>
              <a:r>
                <a:rPr lang="en-GB" sz="714" dirty="0" smtClean="0">
                  <a:solidFill>
                    <a:srgbClr val="000000"/>
                  </a:solidFill>
                </a:rPr>
                <a:t>146</a:t>
              </a:r>
            </a:p>
            <a:p>
              <a:pPr algn="ctr"/>
              <a:r>
                <a:rPr lang="en-GB" sz="714" dirty="0" smtClean="0">
                  <a:solidFill>
                    <a:srgbClr val="000000"/>
                  </a:solidFill>
                </a:rPr>
                <a:t>48</a:t>
              </a:r>
            </a:p>
          </p:txBody>
        </p:sp>
        <p:sp>
          <p:nvSpPr>
            <p:cNvPr id="21" name="Rectangle 84"/>
            <p:cNvSpPr>
              <a:spLocks noChangeArrowheads="1"/>
            </p:cNvSpPr>
            <p:nvPr userDrawn="1"/>
          </p:nvSpPr>
          <p:spPr bwMode="gray">
            <a:xfrm rot="-5400000">
              <a:off x="-359" y="1956"/>
              <a:ext cx="274" cy="254"/>
            </a:xfrm>
            <a:prstGeom prst="rect">
              <a:avLst/>
            </a:prstGeom>
            <a:solidFill>
              <a:srgbClr val="A6AF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lIns="0" tIns="0" rIns="0" bIns="0" anchor="ctr"/>
            <a:lstStyle/>
            <a:p>
              <a:pPr algn="ctr"/>
              <a:r>
                <a:rPr lang="en-GB" sz="714" dirty="0" smtClean="0">
                  <a:solidFill>
                    <a:srgbClr val="000000"/>
                  </a:solidFill>
                </a:rPr>
                <a:t>166</a:t>
              </a:r>
            </a:p>
            <a:p>
              <a:pPr algn="ctr"/>
              <a:r>
                <a:rPr lang="en-GB" sz="714" dirty="0" smtClean="0">
                  <a:solidFill>
                    <a:srgbClr val="000000"/>
                  </a:solidFill>
                </a:rPr>
                <a:t>175</a:t>
              </a:r>
            </a:p>
            <a:p>
              <a:pPr algn="ctr"/>
              <a:r>
                <a:rPr lang="en-GB" sz="714" dirty="0" smtClean="0">
                  <a:solidFill>
                    <a:srgbClr val="000000"/>
                  </a:solidFill>
                </a:rPr>
                <a:t>190</a:t>
              </a:r>
            </a:p>
          </p:txBody>
        </p:sp>
        <p:sp>
          <p:nvSpPr>
            <p:cNvPr id="22" name="Rectangle 85"/>
            <p:cNvSpPr>
              <a:spLocks noChangeArrowheads="1"/>
            </p:cNvSpPr>
            <p:nvPr userDrawn="1"/>
          </p:nvSpPr>
          <p:spPr bwMode="gray">
            <a:xfrm rot="-5400000">
              <a:off x="-359" y="3072"/>
              <a:ext cx="274" cy="254"/>
            </a:xfrm>
            <a:prstGeom prst="rect">
              <a:avLst/>
            </a:prstGeom>
            <a:solidFill>
              <a:srgbClr val="E18E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lIns="0" tIns="0" rIns="0" bIns="0" anchor="ctr"/>
            <a:lstStyle/>
            <a:p>
              <a:pPr algn="ctr"/>
              <a:r>
                <a:rPr lang="en-GB" sz="714" dirty="0" smtClean="0">
                  <a:solidFill>
                    <a:srgbClr val="000000"/>
                  </a:solidFill>
                </a:rPr>
                <a:t>225</a:t>
              </a:r>
            </a:p>
            <a:p>
              <a:pPr algn="ctr"/>
              <a:r>
                <a:rPr lang="en-GB" sz="714" dirty="0" smtClean="0">
                  <a:solidFill>
                    <a:srgbClr val="000000"/>
                  </a:solidFill>
                </a:rPr>
                <a:t>142</a:t>
              </a:r>
            </a:p>
            <a:p>
              <a:pPr algn="ctr"/>
              <a:r>
                <a:rPr lang="en-GB" sz="714" dirty="0" smtClean="0">
                  <a:solidFill>
                    <a:srgbClr val="000000"/>
                  </a:solidFill>
                </a:rPr>
                <a:t>139</a:t>
              </a:r>
            </a:p>
          </p:txBody>
        </p:sp>
        <p:sp>
          <p:nvSpPr>
            <p:cNvPr id="23" name="Rectangle 86"/>
            <p:cNvSpPr>
              <a:spLocks noChangeArrowheads="1"/>
            </p:cNvSpPr>
            <p:nvPr userDrawn="1"/>
          </p:nvSpPr>
          <p:spPr bwMode="gray">
            <a:xfrm rot="-5400000">
              <a:off x="-359" y="1584"/>
              <a:ext cx="274" cy="254"/>
            </a:xfrm>
            <a:prstGeom prst="rect">
              <a:avLst/>
            </a:prstGeom>
            <a:solidFill>
              <a:srgbClr val="8BA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lIns="0" tIns="0" rIns="0" bIns="0" anchor="ctr"/>
            <a:lstStyle/>
            <a:p>
              <a:pPr algn="ctr"/>
              <a:r>
                <a:rPr lang="en-GB" sz="714" dirty="0" smtClean="0">
                  <a:solidFill>
                    <a:srgbClr val="000000"/>
                  </a:solidFill>
                </a:rPr>
                <a:t>139</a:t>
              </a:r>
            </a:p>
            <a:p>
              <a:pPr algn="ctr"/>
              <a:r>
                <a:rPr lang="en-GB" sz="714" dirty="0" smtClean="0">
                  <a:solidFill>
                    <a:srgbClr val="000000"/>
                  </a:solidFill>
                </a:rPr>
                <a:t>174</a:t>
              </a:r>
            </a:p>
            <a:p>
              <a:pPr algn="ctr"/>
              <a:r>
                <a:rPr lang="en-GB" sz="714" dirty="0" smtClean="0">
                  <a:solidFill>
                    <a:srgbClr val="000000"/>
                  </a:solidFill>
                </a:rPr>
                <a:t>214</a:t>
              </a:r>
            </a:p>
          </p:txBody>
        </p:sp>
      </p:grpSp>
      <p:sp>
        <p:nvSpPr>
          <p:cNvPr id="1013762" name="Rectangle 2"/>
          <p:cNvSpPr>
            <a:spLocks noGrp="1" noChangeArrowheads="1"/>
          </p:cNvSpPr>
          <p:nvPr>
            <p:ph type="ctrTitle"/>
          </p:nvPr>
        </p:nvSpPr>
        <p:spPr bwMode="auto">
          <a:xfrm>
            <a:off x="529652" y="2436097"/>
            <a:ext cx="8214591" cy="1317626"/>
          </a:xfrm>
          <a:extLst/>
        </p:spPr>
        <p:txBody>
          <a:bodyPr lIns="80383" tIns="40208" rIns="80383" bIns="40208"/>
          <a:lstStyle>
            <a:lvl1pPr algn="r">
              <a:defRPr sz="3673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smtClean="0"/>
              <a:t>Click to edit Master title style</a:t>
            </a:r>
          </a:p>
        </p:txBody>
      </p:sp>
      <p:sp>
        <p:nvSpPr>
          <p:cNvPr id="101376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496710" y="3880721"/>
            <a:ext cx="6227330" cy="789420"/>
          </a:xfrm>
          <a:extLst/>
        </p:spPr>
        <p:txBody>
          <a:bodyPr lIns="80383" rIns="80383"/>
          <a:lstStyle>
            <a:lvl1pPr algn="r">
              <a:defRPr sz="1837"/>
            </a:lvl1pPr>
          </a:lstStyle>
          <a:p>
            <a:pPr lvl="0"/>
            <a:r>
              <a:rPr lang="en-GB" noProof="0" smtClean="0"/>
              <a:t>Click to edit Master subtitle style</a:t>
            </a:r>
          </a:p>
        </p:txBody>
      </p:sp>
      <p:pic>
        <p:nvPicPr>
          <p:cNvPr id="24" name="Рисунок 2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652" y="544087"/>
            <a:ext cx="2836322" cy="734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98051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5229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647342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smtClean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NN Sustainability_check-point_4_14Oct2019_v12_stickers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6854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6253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647342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smtClean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NN Sustainability_check-point_4_14Oct2019_v12_stickers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6038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727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oup 4"/>
          <p:cNvGrpSpPr>
            <a:grpSpLocks noChangeAspect="1"/>
          </p:cNvGrpSpPr>
          <p:nvPr userDrawn="1"/>
        </p:nvGrpSpPr>
        <p:grpSpPr bwMode="auto">
          <a:xfrm>
            <a:off x="694568" y="2722052"/>
            <a:ext cx="3278358" cy="1344304"/>
            <a:chOff x="585" y="2014"/>
            <a:chExt cx="5583" cy="1717"/>
          </a:xfrm>
          <a:solidFill>
            <a:schemeClr val="bg1"/>
          </a:solidFill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585" y="2014"/>
              <a:ext cx="2558" cy="1055"/>
            </a:xfrm>
            <a:custGeom>
              <a:avLst/>
              <a:gdLst>
                <a:gd name="T0" fmla="*/ 123 w 1081"/>
                <a:gd name="T1" fmla="*/ 32 h 445"/>
                <a:gd name="T2" fmla="*/ 171 w 1081"/>
                <a:gd name="T3" fmla="*/ 25 h 445"/>
                <a:gd name="T4" fmla="*/ 150 w 1081"/>
                <a:gd name="T5" fmla="*/ 204 h 445"/>
                <a:gd name="T6" fmla="*/ 189 w 1081"/>
                <a:gd name="T7" fmla="*/ 420 h 445"/>
                <a:gd name="T8" fmla="*/ 123 w 1081"/>
                <a:gd name="T9" fmla="*/ 219 h 445"/>
                <a:gd name="T10" fmla="*/ 293 w 1081"/>
                <a:gd name="T11" fmla="*/ 318 h 445"/>
                <a:gd name="T12" fmla="*/ 905 w 1081"/>
                <a:gd name="T13" fmla="*/ 248 h 445"/>
                <a:gd name="T14" fmla="*/ 910 w 1081"/>
                <a:gd name="T15" fmla="*/ 260 h 445"/>
                <a:gd name="T16" fmla="*/ 974 w 1081"/>
                <a:gd name="T17" fmla="*/ 360 h 445"/>
                <a:gd name="T18" fmla="*/ 756 w 1081"/>
                <a:gd name="T19" fmla="*/ 226 h 445"/>
                <a:gd name="T20" fmla="*/ 1000 w 1081"/>
                <a:gd name="T21" fmla="*/ 127 h 445"/>
                <a:gd name="T22" fmla="*/ 1011 w 1081"/>
                <a:gd name="T23" fmla="*/ 132 h 445"/>
                <a:gd name="T24" fmla="*/ 1006 w 1081"/>
                <a:gd name="T25" fmla="*/ 4 h 445"/>
                <a:gd name="T26" fmla="*/ 994 w 1081"/>
                <a:gd name="T27" fmla="*/ 39 h 445"/>
                <a:gd name="T28" fmla="*/ 882 w 1081"/>
                <a:gd name="T29" fmla="*/ 0 h 445"/>
                <a:gd name="T30" fmla="*/ 686 w 1081"/>
                <a:gd name="T31" fmla="*/ 286 h 445"/>
                <a:gd name="T32" fmla="*/ 563 w 1081"/>
                <a:gd name="T33" fmla="*/ 429 h 445"/>
                <a:gd name="T34" fmla="*/ 554 w 1081"/>
                <a:gd name="T35" fmla="*/ 16 h 445"/>
                <a:gd name="T36" fmla="*/ 667 w 1081"/>
                <a:gd name="T37" fmla="*/ 109 h 445"/>
                <a:gd name="T38" fmla="*/ 672 w 1081"/>
                <a:gd name="T39" fmla="*/ 4 h 445"/>
                <a:gd name="T40" fmla="*/ 661 w 1081"/>
                <a:gd name="T41" fmla="*/ 7 h 445"/>
                <a:gd name="T42" fmla="*/ 655 w 1081"/>
                <a:gd name="T43" fmla="*/ 38 h 445"/>
                <a:gd name="T44" fmla="*/ 348 w 1081"/>
                <a:gd name="T45" fmla="*/ 227 h 445"/>
                <a:gd name="T46" fmla="*/ 349 w 1081"/>
                <a:gd name="T47" fmla="*/ 261 h 445"/>
                <a:gd name="T48" fmla="*/ 220 w 1081"/>
                <a:gd name="T49" fmla="*/ 206 h 445"/>
                <a:gd name="T50" fmla="*/ 168 w 1081"/>
                <a:gd name="T51" fmla="*/ 8 h 445"/>
                <a:gd name="T52" fmla="*/ 0 w 1081"/>
                <a:gd name="T53" fmla="*/ 8 h 445"/>
                <a:gd name="T54" fmla="*/ 4 w 1081"/>
                <a:gd name="T55" fmla="*/ 21 h 445"/>
                <a:gd name="T56" fmla="*/ 55 w 1081"/>
                <a:gd name="T57" fmla="*/ 336 h 445"/>
                <a:gd name="T58" fmla="*/ 0 w 1081"/>
                <a:gd name="T59" fmla="*/ 430 h 445"/>
                <a:gd name="T60" fmla="*/ 88 w 1081"/>
                <a:gd name="T61" fmla="*/ 435 h 445"/>
                <a:gd name="T62" fmla="*/ 366 w 1081"/>
                <a:gd name="T63" fmla="*/ 323 h 445"/>
                <a:gd name="T64" fmla="*/ 561 w 1081"/>
                <a:gd name="T65" fmla="*/ 445 h 445"/>
                <a:gd name="T66" fmla="*/ 679 w 1081"/>
                <a:gd name="T67" fmla="*/ 405 h 445"/>
                <a:gd name="T68" fmla="*/ 691 w 1081"/>
                <a:gd name="T69" fmla="*/ 441 h 445"/>
                <a:gd name="T70" fmla="*/ 696 w 1081"/>
                <a:gd name="T71" fmla="*/ 321 h 445"/>
                <a:gd name="T72" fmla="*/ 886 w 1081"/>
                <a:gd name="T73" fmla="*/ 445 h 445"/>
                <a:gd name="T74" fmla="*/ 1041 w 1081"/>
                <a:gd name="T75" fmla="*/ 387 h 445"/>
                <a:gd name="T76" fmla="*/ 1040 w 1081"/>
                <a:gd name="T77" fmla="*/ 323 h 445"/>
                <a:gd name="T78" fmla="*/ 1081 w 1081"/>
                <a:gd name="T79" fmla="*/ 255 h 445"/>
                <a:gd name="T80" fmla="*/ 1002 w 1081"/>
                <a:gd name="T81" fmla="*/ 249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81" h="445">
                  <a:moveTo>
                    <a:pt x="123" y="204"/>
                  </a:moveTo>
                  <a:cubicBezTo>
                    <a:pt x="123" y="32"/>
                    <a:pt x="123" y="32"/>
                    <a:pt x="123" y="32"/>
                  </a:cubicBezTo>
                  <a:cubicBezTo>
                    <a:pt x="123" y="28"/>
                    <a:pt x="124" y="27"/>
                    <a:pt x="130" y="26"/>
                  </a:cubicBezTo>
                  <a:cubicBezTo>
                    <a:pt x="139" y="25"/>
                    <a:pt x="161" y="25"/>
                    <a:pt x="171" y="25"/>
                  </a:cubicBezTo>
                  <a:cubicBezTo>
                    <a:pt x="223" y="25"/>
                    <a:pt x="257" y="56"/>
                    <a:pt x="257" y="115"/>
                  </a:cubicBezTo>
                  <a:cubicBezTo>
                    <a:pt x="257" y="180"/>
                    <a:pt x="217" y="204"/>
                    <a:pt x="150" y="204"/>
                  </a:cubicBezTo>
                  <a:lnTo>
                    <a:pt x="123" y="204"/>
                  </a:lnTo>
                  <a:close/>
                  <a:moveTo>
                    <a:pt x="189" y="420"/>
                  </a:moveTo>
                  <a:cubicBezTo>
                    <a:pt x="132" y="420"/>
                    <a:pt x="123" y="411"/>
                    <a:pt x="123" y="332"/>
                  </a:cubicBezTo>
                  <a:cubicBezTo>
                    <a:pt x="123" y="219"/>
                    <a:pt x="123" y="219"/>
                    <a:pt x="123" y="219"/>
                  </a:cubicBezTo>
                  <a:cubicBezTo>
                    <a:pt x="149" y="219"/>
                    <a:pt x="149" y="219"/>
                    <a:pt x="149" y="219"/>
                  </a:cubicBezTo>
                  <a:cubicBezTo>
                    <a:pt x="224" y="219"/>
                    <a:pt x="293" y="237"/>
                    <a:pt x="293" y="318"/>
                  </a:cubicBezTo>
                  <a:cubicBezTo>
                    <a:pt x="293" y="382"/>
                    <a:pt x="255" y="420"/>
                    <a:pt x="189" y="420"/>
                  </a:cubicBezTo>
                  <a:close/>
                  <a:moveTo>
                    <a:pt x="905" y="248"/>
                  </a:moveTo>
                  <a:cubicBezTo>
                    <a:pt x="905" y="255"/>
                    <a:pt x="905" y="255"/>
                    <a:pt x="905" y="255"/>
                  </a:cubicBezTo>
                  <a:cubicBezTo>
                    <a:pt x="905" y="258"/>
                    <a:pt x="906" y="260"/>
                    <a:pt x="910" y="260"/>
                  </a:cubicBezTo>
                  <a:cubicBezTo>
                    <a:pt x="974" y="262"/>
                    <a:pt x="974" y="269"/>
                    <a:pt x="974" y="319"/>
                  </a:cubicBezTo>
                  <a:cubicBezTo>
                    <a:pt x="974" y="360"/>
                    <a:pt x="974" y="360"/>
                    <a:pt x="974" y="360"/>
                  </a:cubicBezTo>
                  <a:cubicBezTo>
                    <a:pt x="974" y="402"/>
                    <a:pt x="946" y="429"/>
                    <a:pt x="890" y="429"/>
                  </a:cubicBezTo>
                  <a:cubicBezTo>
                    <a:pt x="796" y="429"/>
                    <a:pt x="756" y="339"/>
                    <a:pt x="756" y="226"/>
                  </a:cubicBezTo>
                  <a:cubicBezTo>
                    <a:pt x="756" y="119"/>
                    <a:pt x="785" y="16"/>
                    <a:pt x="888" y="16"/>
                  </a:cubicBezTo>
                  <a:cubicBezTo>
                    <a:pt x="947" y="16"/>
                    <a:pt x="996" y="56"/>
                    <a:pt x="1000" y="127"/>
                  </a:cubicBezTo>
                  <a:cubicBezTo>
                    <a:pt x="1000" y="132"/>
                    <a:pt x="1002" y="132"/>
                    <a:pt x="1005" y="132"/>
                  </a:cubicBezTo>
                  <a:cubicBezTo>
                    <a:pt x="1011" y="132"/>
                    <a:pt x="1011" y="132"/>
                    <a:pt x="1011" y="132"/>
                  </a:cubicBezTo>
                  <a:cubicBezTo>
                    <a:pt x="1011" y="103"/>
                    <a:pt x="1010" y="34"/>
                    <a:pt x="1010" y="4"/>
                  </a:cubicBezTo>
                  <a:cubicBezTo>
                    <a:pt x="1006" y="4"/>
                    <a:pt x="1006" y="4"/>
                    <a:pt x="1006" y="4"/>
                  </a:cubicBezTo>
                  <a:cubicBezTo>
                    <a:pt x="1002" y="4"/>
                    <a:pt x="1000" y="5"/>
                    <a:pt x="1000" y="7"/>
                  </a:cubicBezTo>
                  <a:cubicBezTo>
                    <a:pt x="994" y="39"/>
                    <a:pt x="994" y="39"/>
                    <a:pt x="994" y="39"/>
                  </a:cubicBezTo>
                  <a:cubicBezTo>
                    <a:pt x="993" y="39"/>
                    <a:pt x="993" y="39"/>
                    <a:pt x="993" y="39"/>
                  </a:cubicBezTo>
                  <a:cubicBezTo>
                    <a:pt x="964" y="12"/>
                    <a:pt x="921" y="0"/>
                    <a:pt x="882" y="0"/>
                  </a:cubicBezTo>
                  <a:cubicBezTo>
                    <a:pt x="760" y="0"/>
                    <a:pt x="680" y="103"/>
                    <a:pt x="680" y="227"/>
                  </a:cubicBezTo>
                  <a:cubicBezTo>
                    <a:pt x="680" y="248"/>
                    <a:pt x="682" y="268"/>
                    <a:pt x="686" y="286"/>
                  </a:cubicBezTo>
                  <a:cubicBezTo>
                    <a:pt x="685" y="304"/>
                    <a:pt x="685" y="304"/>
                    <a:pt x="685" y="304"/>
                  </a:cubicBezTo>
                  <a:cubicBezTo>
                    <a:pt x="678" y="399"/>
                    <a:pt x="622" y="429"/>
                    <a:pt x="563" y="429"/>
                  </a:cubicBezTo>
                  <a:cubicBezTo>
                    <a:pt x="469" y="429"/>
                    <a:pt x="424" y="343"/>
                    <a:pt x="424" y="226"/>
                  </a:cubicBezTo>
                  <a:cubicBezTo>
                    <a:pt x="424" y="119"/>
                    <a:pt x="451" y="16"/>
                    <a:pt x="554" y="16"/>
                  </a:cubicBezTo>
                  <a:cubicBezTo>
                    <a:pt x="606" y="16"/>
                    <a:pt x="651" y="49"/>
                    <a:pt x="661" y="104"/>
                  </a:cubicBezTo>
                  <a:cubicBezTo>
                    <a:pt x="662" y="109"/>
                    <a:pt x="663" y="109"/>
                    <a:pt x="667" y="109"/>
                  </a:cubicBezTo>
                  <a:cubicBezTo>
                    <a:pt x="673" y="109"/>
                    <a:pt x="673" y="109"/>
                    <a:pt x="673" y="109"/>
                  </a:cubicBezTo>
                  <a:cubicBezTo>
                    <a:pt x="672" y="80"/>
                    <a:pt x="672" y="34"/>
                    <a:pt x="672" y="4"/>
                  </a:cubicBezTo>
                  <a:cubicBezTo>
                    <a:pt x="668" y="4"/>
                    <a:pt x="668" y="4"/>
                    <a:pt x="668" y="4"/>
                  </a:cubicBezTo>
                  <a:cubicBezTo>
                    <a:pt x="663" y="4"/>
                    <a:pt x="662" y="5"/>
                    <a:pt x="661" y="7"/>
                  </a:cubicBezTo>
                  <a:cubicBezTo>
                    <a:pt x="655" y="38"/>
                    <a:pt x="655" y="38"/>
                    <a:pt x="655" y="38"/>
                  </a:cubicBezTo>
                  <a:cubicBezTo>
                    <a:pt x="655" y="38"/>
                    <a:pt x="655" y="38"/>
                    <a:pt x="655" y="38"/>
                  </a:cubicBezTo>
                  <a:cubicBezTo>
                    <a:pt x="626" y="12"/>
                    <a:pt x="585" y="0"/>
                    <a:pt x="546" y="0"/>
                  </a:cubicBezTo>
                  <a:cubicBezTo>
                    <a:pt x="427" y="0"/>
                    <a:pt x="348" y="103"/>
                    <a:pt x="348" y="227"/>
                  </a:cubicBezTo>
                  <a:cubicBezTo>
                    <a:pt x="348" y="239"/>
                    <a:pt x="349" y="250"/>
                    <a:pt x="351" y="261"/>
                  </a:cubicBezTo>
                  <a:cubicBezTo>
                    <a:pt x="349" y="261"/>
                    <a:pt x="349" y="261"/>
                    <a:pt x="349" y="261"/>
                  </a:cubicBezTo>
                  <a:cubicBezTo>
                    <a:pt x="325" y="227"/>
                    <a:pt x="278" y="210"/>
                    <a:pt x="220" y="207"/>
                  </a:cubicBezTo>
                  <a:cubicBezTo>
                    <a:pt x="220" y="206"/>
                    <a:pt x="220" y="206"/>
                    <a:pt x="220" y="206"/>
                  </a:cubicBezTo>
                  <a:cubicBezTo>
                    <a:pt x="283" y="194"/>
                    <a:pt x="325" y="162"/>
                    <a:pt x="325" y="109"/>
                  </a:cubicBezTo>
                  <a:cubicBezTo>
                    <a:pt x="325" y="29"/>
                    <a:pt x="238" y="8"/>
                    <a:pt x="168" y="8"/>
                  </a:cubicBezTo>
                  <a:cubicBezTo>
                    <a:pt x="149" y="8"/>
                    <a:pt x="106" y="10"/>
                    <a:pt x="93" y="10"/>
                  </a:cubicBezTo>
                  <a:cubicBezTo>
                    <a:pt x="62" y="10"/>
                    <a:pt x="29" y="9"/>
                    <a:pt x="0" y="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9"/>
                    <a:pt x="1" y="21"/>
                    <a:pt x="4" y="21"/>
                  </a:cubicBezTo>
                  <a:cubicBezTo>
                    <a:pt x="55" y="23"/>
                    <a:pt x="55" y="30"/>
                    <a:pt x="55" y="109"/>
                  </a:cubicBezTo>
                  <a:cubicBezTo>
                    <a:pt x="55" y="336"/>
                    <a:pt x="55" y="336"/>
                    <a:pt x="55" y="336"/>
                  </a:cubicBezTo>
                  <a:cubicBezTo>
                    <a:pt x="55" y="415"/>
                    <a:pt x="55" y="422"/>
                    <a:pt x="5" y="424"/>
                  </a:cubicBezTo>
                  <a:cubicBezTo>
                    <a:pt x="1" y="424"/>
                    <a:pt x="0" y="426"/>
                    <a:pt x="0" y="430"/>
                  </a:cubicBezTo>
                  <a:cubicBezTo>
                    <a:pt x="0" y="436"/>
                    <a:pt x="0" y="436"/>
                    <a:pt x="0" y="436"/>
                  </a:cubicBezTo>
                  <a:cubicBezTo>
                    <a:pt x="30" y="436"/>
                    <a:pt x="58" y="435"/>
                    <a:pt x="88" y="435"/>
                  </a:cubicBezTo>
                  <a:cubicBezTo>
                    <a:pt x="126" y="435"/>
                    <a:pt x="142" y="436"/>
                    <a:pt x="192" y="436"/>
                  </a:cubicBezTo>
                  <a:cubicBezTo>
                    <a:pt x="297" y="436"/>
                    <a:pt x="361" y="387"/>
                    <a:pt x="366" y="323"/>
                  </a:cubicBezTo>
                  <a:cubicBezTo>
                    <a:pt x="367" y="323"/>
                    <a:pt x="367" y="323"/>
                    <a:pt x="367" y="323"/>
                  </a:cubicBezTo>
                  <a:cubicBezTo>
                    <a:pt x="399" y="398"/>
                    <a:pt x="469" y="445"/>
                    <a:pt x="561" y="445"/>
                  </a:cubicBezTo>
                  <a:cubicBezTo>
                    <a:pt x="605" y="445"/>
                    <a:pt x="645" y="431"/>
                    <a:pt x="678" y="405"/>
                  </a:cubicBezTo>
                  <a:cubicBezTo>
                    <a:pt x="679" y="405"/>
                    <a:pt x="679" y="405"/>
                    <a:pt x="679" y="405"/>
                  </a:cubicBezTo>
                  <a:cubicBezTo>
                    <a:pt x="684" y="438"/>
                    <a:pt x="684" y="438"/>
                    <a:pt x="684" y="438"/>
                  </a:cubicBezTo>
                  <a:cubicBezTo>
                    <a:pt x="685" y="440"/>
                    <a:pt x="687" y="441"/>
                    <a:pt x="691" y="441"/>
                  </a:cubicBezTo>
                  <a:cubicBezTo>
                    <a:pt x="695" y="441"/>
                    <a:pt x="695" y="441"/>
                    <a:pt x="695" y="441"/>
                  </a:cubicBezTo>
                  <a:cubicBezTo>
                    <a:pt x="695" y="420"/>
                    <a:pt x="696" y="363"/>
                    <a:pt x="696" y="321"/>
                  </a:cubicBezTo>
                  <a:cubicBezTo>
                    <a:pt x="697" y="321"/>
                    <a:pt x="697" y="321"/>
                    <a:pt x="697" y="321"/>
                  </a:cubicBezTo>
                  <a:cubicBezTo>
                    <a:pt x="729" y="399"/>
                    <a:pt x="800" y="445"/>
                    <a:pt x="886" y="445"/>
                  </a:cubicBezTo>
                  <a:cubicBezTo>
                    <a:pt x="970" y="445"/>
                    <a:pt x="1001" y="393"/>
                    <a:pt x="1037" y="393"/>
                  </a:cubicBezTo>
                  <a:cubicBezTo>
                    <a:pt x="1040" y="393"/>
                    <a:pt x="1041" y="392"/>
                    <a:pt x="1041" y="387"/>
                  </a:cubicBezTo>
                  <a:cubicBezTo>
                    <a:pt x="1041" y="380"/>
                    <a:pt x="1040" y="362"/>
                    <a:pt x="1040" y="351"/>
                  </a:cubicBezTo>
                  <a:cubicBezTo>
                    <a:pt x="1040" y="323"/>
                    <a:pt x="1040" y="323"/>
                    <a:pt x="1040" y="323"/>
                  </a:cubicBezTo>
                  <a:cubicBezTo>
                    <a:pt x="1040" y="269"/>
                    <a:pt x="1040" y="262"/>
                    <a:pt x="1076" y="260"/>
                  </a:cubicBezTo>
                  <a:cubicBezTo>
                    <a:pt x="1081" y="260"/>
                    <a:pt x="1081" y="258"/>
                    <a:pt x="1081" y="255"/>
                  </a:cubicBezTo>
                  <a:cubicBezTo>
                    <a:pt x="1081" y="248"/>
                    <a:pt x="1081" y="248"/>
                    <a:pt x="1081" y="248"/>
                  </a:cubicBezTo>
                  <a:cubicBezTo>
                    <a:pt x="1052" y="248"/>
                    <a:pt x="1032" y="249"/>
                    <a:pt x="1002" y="249"/>
                  </a:cubicBezTo>
                  <a:cubicBezTo>
                    <a:pt x="971" y="249"/>
                    <a:pt x="934" y="248"/>
                    <a:pt x="905" y="2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350" dirty="0">
                <a:solidFill>
                  <a:srgbClr val="6E6F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1475" y="3449"/>
              <a:ext cx="4693" cy="282"/>
            </a:xfrm>
            <a:custGeom>
              <a:avLst/>
              <a:gdLst>
                <a:gd name="T0" fmla="*/ 101 w 1984"/>
                <a:gd name="T1" fmla="*/ 32 h 119"/>
                <a:gd name="T2" fmla="*/ 43 w 1984"/>
                <a:gd name="T3" fmla="*/ 12 h 119"/>
                <a:gd name="T4" fmla="*/ 355 w 1984"/>
                <a:gd name="T5" fmla="*/ 29 h 119"/>
                <a:gd name="T6" fmla="*/ 274 w 1984"/>
                <a:gd name="T7" fmla="*/ 117 h 119"/>
                <a:gd name="T8" fmla="*/ 340 w 1984"/>
                <a:gd name="T9" fmla="*/ 31 h 119"/>
                <a:gd name="T10" fmla="*/ 869 w 1984"/>
                <a:gd name="T11" fmla="*/ 82 h 119"/>
                <a:gd name="T12" fmla="*/ 861 w 1984"/>
                <a:gd name="T13" fmla="*/ 6 h 119"/>
                <a:gd name="T14" fmla="*/ 153 w 1984"/>
                <a:gd name="T15" fmla="*/ 117 h 119"/>
                <a:gd name="T16" fmla="*/ 121 w 1984"/>
                <a:gd name="T17" fmla="*/ 117 h 119"/>
                <a:gd name="T18" fmla="*/ 103 w 1984"/>
                <a:gd name="T19" fmla="*/ 38 h 119"/>
                <a:gd name="T20" fmla="*/ 135 w 1984"/>
                <a:gd name="T21" fmla="*/ 38 h 119"/>
                <a:gd name="T22" fmla="*/ 153 w 1984"/>
                <a:gd name="T23" fmla="*/ 117 h 119"/>
                <a:gd name="T24" fmla="*/ 177 w 1984"/>
                <a:gd name="T25" fmla="*/ 38 h 119"/>
                <a:gd name="T26" fmla="*/ 201 w 1984"/>
                <a:gd name="T27" fmla="*/ 73 h 119"/>
                <a:gd name="T28" fmla="*/ 201 w 1984"/>
                <a:gd name="T29" fmla="*/ 78 h 119"/>
                <a:gd name="T30" fmla="*/ 374 w 1984"/>
                <a:gd name="T31" fmla="*/ 79 h 119"/>
                <a:gd name="T32" fmla="*/ 461 w 1984"/>
                <a:gd name="T33" fmla="*/ 117 h 119"/>
                <a:gd name="T34" fmla="*/ 497 w 1984"/>
                <a:gd name="T35" fmla="*/ 41 h 119"/>
                <a:gd name="T36" fmla="*/ 481 w 1984"/>
                <a:gd name="T37" fmla="*/ 119 h 119"/>
                <a:gd name="T38" fmla="*/ 515 w 1984"/>
                <a:gd name="T39" fmla="*/ 61 h 119"/>
                <a:gd name="T40" fmla="*/ 561 w 1984"/>
                <a:gd name="T41" fmla="*/ 44 h 119"/>
                <a:gd name="T42" fmla="*/ 622 w 1984"/>
                <a:gd name="T43" fmla="*/ 36 h 119"/>
                <a:gd name="T44" fmla="*/ 684 w 1984"/>
                <a:gd name="T45" fmla="*/ 53 h 119"/>
                <a:gd name="T46" fmla="*/ 675 w 1984"/>
                <a:gd name="T47" fmla="*/ 84 h 119"/>
                <a:gd name="T48" fmla="*/ 716 w 1984"/>
                <a:gd name="T49" fmla="*/ 43 h 119"/>
                <a:gd name="T50" fmla="*/ 921 w 1984"/>
                <a:gd name="T51" fmla="*/ 119 h 119"/>
                <a:gd name="T52" fmla="*/ 1029 w 1984"/>
                <a:gd name="T53" fmla="*/ 119 h 119"/>
                <a:gd name="T54" fmla="*/ 963 w 1984"/>
                <a:gd name="T55" fmla="*/ 113 h 119"/>
                <a:gd name="T56" fmla="*/ 1030 w 1984"/>
                <a:gd name="T57" fmla="*/ 96 h 119"/>
                <a:gd name="T58" fmla="*/ 1038 w 1984"/>
                <a:gd name="T59" fmla="*/ 119 h 119"/>
                <a:gd name="T60" fmla="*/ 1097 w 1984"/>
                <a:gd name="T61" fmla="*/ 101 h 119"/>
                <a:gd name="T62" fmla="*/ 1080 w 1984"/>
                <a:gd name="T63" fmla="*/ 43 h 119"/>
                <a:gd name="T64" fmla="*/ 1111 w 1984"/>
                <a:gd name="T65" fmla="*/ 38 h 119"/>
                <a:gd name="T66" fmla="*/ 1163 w 1984"/>
                <a:gd name="T67" fmla="*/ 43 h 119"/>
                <a:gd name="T68" fmla="*/ 1243 w 1984"/>
                <a:gd name="T69" fmla="*/ 117 h 119"/>
                <a:gd name="T70" fmla="*/ 1217 w 1984"/>
                <a:gd name="T71" fmla="*/ 38 h 119"/>
                <a:gd name="T72" fmla="*/ 1261 w 1984"/>
                <a:gd name="T73" fmla="*/ 91 h 119"/>
                <a:gd name="T74" fmla="*/ 1276 w 1984"/>
                <a:gd name="T75" fmla="*/ 44 h 119"/>
                <a:gd name="T76" fmla="*/ 1322 w 1984"/>
                <a:gd name="T77" fmla="*/ 61 h 119"/>
                <a:gd name="T78" fmla="*/ 1331 w 1984"/>
                <a:gd name="T79" fmla="*/ 117 h 119"/>
                <a:gd name="T80" fmla="*/ 1367 w 1984"/>
                <a:gd name="T81" fmla="*/ 42 h 119"/>
                <a:gd name="T82" fmla="*/ 1392 w 1984"/>
                <a:gd name="T83" fmla="*/ 53 h 119"/>
                <a:gd name="T84" fmla="*/ 1383 w 1984"/>
                <a:gd name="T85" fmla="*/ 84 h 119"/>
                <a:gd name="T86" fmla="*/ 1424 w 1984"/>
                <a:gd name="T87" fmla="*/ 42 h 119"/>
                <a:gd name="T88" fmla="*/ 1536 w 1984"/>
                <a:gd name="T89" fmla="*/ 87 h 119"/>
                <a:gd name="T90" fmla="*/ 1521 w 1984"/>
                <a:gd name="T91" fmla="*/ 37 h 119"/>
                <a:gd name="T92" fmla="*/ 1503 w 1984"/>
                <a:gd name="T93" fmla="*/ 87 h 119"/>
                <a:gd name="T94" fmla="*/ 1659 w 1984"/>
                <a:gd name="T95" fmla="*/ 104 h 119"/>
                <a:gd name="T96" fmla="*/ 1653 w 1984"/>
                <a:gd name="T97" fmla="*/ 33 h 119"/>
                <a:gd name="T98" fmla="*/ 1625 w 1984"/>
                <a:gd name="T99" fmla="*/ 66 h 119"/>
                <a:gd name="T100" fmla="*/ 1750 w 1984"/>
                <a:gd name="T101" fmla="*/ 111 h 119"/>
                <a:gd name="T102" fmla="*/ 1672 w 1984"/>
                <a:gd name="T103" fmla="*/ 117 h 119"/>
                <a:gd name="T104" fmla="*/ 1738 w 1984"/>
                <a:gd name="T105" fmla="*/ 56 h 119"/>
                <a:gd name="T106" fmla="*/ 1788 w 1984"/>
                <a:gd name="T107" fmla="*/ 36 h 119"/>
                <a:gd name="T108" fmla="*/ 1841 w 1984"/>
                <a:gd name="T109" fmla="*/ 59 h 119"/>
                <a:gd name="T110" fmla="*/ 1875 w 1984"/>
                <a:gd name="T111" fmla="*/ 110 h 119"/>
                <a:gd name="T112" fmla="*/ 1903 w 1984"/>
                <a:gd name="T113" fmla="*/ 71 h 119"/>
                <a:gd name="T114" fmla="*/ 1918 w 1984"/>
                <a:gd name="T115" fmla="*/ 117 h 119"/>
                <a:gd name="T116" fmla="*/ 1984 w 1984"/>
                <a:gd name="T117" fmla="*/ 5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4" h="119">
                  <a:moveTo>
                    <a:pt x="73" y="117"/>
                  </a:moveTo>
                  <a:cubicBezTo>
                    <a:pt x="73" y="113"/>
                    <a:pt x="73" y="113"/>
                    <a:pt x="73" y="113"/>
                  </a:cubicBezTo>
                  <a:cubicBezTo>
                    <a:pt x="73" y="112"/>
                    <a:pt x="72" y="111"/>
                    <a:pt x="71" y="111"/>
                  </a:cubicBezTo>
                  <a:cubicBezTo>
                    <a:pt x="58" y="109"/>
                    <a:pt x="58" y="109"/>
                    <a:pt x="58" y="88"/>
                  </a:cubicBezTo>
                  <a:cubicBezTo>
                    <a:pt x="58" y="12"/>
                    <a:pt x="58" y="12"/>
                    <a:pt x="58" y="12"/>
                  </a:cubicBezTo>
                  <a:cubicBezTo>
                    <a:pt x="58" y="11"/>
                    <a:pt x="59" y="10"/>
                    <a:pt x="60" y="10"/>
                  </a:cubicBezTo>
                  <a:cubicBezTo>
                    <a:pt x="71" y="10"/>
                    <a:pt x="71" y="10"/>
                    <a:pt x="71" y="10"/>
                  </a:cubicBezTo>
                  <a:cubicBezTo>
                    <a:pt x="85" y="10"/>
                    <a:pt x="93" y="12"/>
                    <a:pt x="95" y="31"/>
                  </a:cubicBezTo>
                  <a:cubicBezTo>
                    <a:pt x="96" y="32"/>
                    <a:pt x="96" y="32"/>
                    <a:pt x="97" y="32"/>
                  </a:cubicBezTo>
                  <a:cubicBezTo>
                    <a:pt x="101" y="32"/>
                    <a:pt x="101" y="32"/>
                    <a:pt x="101" y="32"/>
                  </a:cubicBezTo>
                  <a:cubicBezTo>
                    <a:pt x="101" y="24"/>
                    <a:pt x="101" y="10"/>
                    <a:pt x="101" y="2"/>
                  </a:cubicBezTo>
                  <a:cubicBezTo>
                    <a:pt x="94" y="2"/>
                    <a:pt x="85" y="2"/>
                    <a:pt x="71" y="2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16" y="2"/>
                    <a:pt x="7" y="2"/>
                    <a:pt x="0" y="2"/>
                  </a:cubicBezTo>
                  <a:cubicBezTo>
                    <a:pt x="0" y="10"/>
                    <a:pt x="0" y="27"/>
                    <a:pt x="0" y="35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5" y="35"/>
                    <a:pt x="6" y="34"/>
                    <a:pt x="6" y="33"/>
                  </a:cubicBezTo>
                  <a:cubicBezTo>
                    <a:pt x="8" y="12"/>
                    <a:pt x="16" y="10"/>
                    <a:pt x="30" y="10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43" y="10"/>
                    <a:pt x="43" y="11"/>
                    <a:pt x="43" y="12"/>
                  </a:cubicBezTo>
                  <a:cubicBezTo>
                    <a:pt x="43" y="88"/>
                    <a:pt x="43" y="88"/>
                    <a:pt x="43" y="88"/>
                  </a:cubicBezTo>
                  <a:cubicBezTo>
                    <a:pt x="43" y="109"/>
                    <a:pt x="43" y="109"/>
                    <a:pt x="30" y="111"/>
                  </a:cubicBezTo>
                  <a:cubicBezTo>
                    <a:pt x="29" y="111"/>
                    <a:pt x="29" y="112"/>
                    <a:pt x="29" y="113"/>
                  </a:cubicBezTo>
                  <a:cubicBezTo>
                    <a:pt x="29" y="117"/>
                    <a:pt x="29" y="117"/>
                    <a:pt x="29" y="117"/>
                  </a:cubicBezTo>
                  <a:cubicBezTo>
                    <a:pt x="36" y="117"/>
                    <a:pt x="43" y="117"/>
                    <a:pt x="51" y="117"/>
                  </a:cubicBezTo>
                  <a:cubicBezTo>
                    <a:pt x="59" y="117"/>
                    <a:pt x="65" y="117"/>
                    <a:pt x="73" y="117"/>
                  </a:cubicBezTo>
                  <a:close/>
                  <a:moveTo>
                    <a:pt x="367" y="85"/>
                  </a:moveTo>
                  <a:cubicBezTo>
                    <a:pt x="367" y="65"/>
                    <a:pt x="349" y="57"/>
                    <a:pt x="330" y="56"/>
                  </a:cubicBezTo>
                  <a:cubicBezTo>
                    <a:pt x="330" y="55"/>
                    <a:pt x="330" y="55"/>
                    <a:pt x="330" y="55"/>
                  </a:cubicBezTo>
                  <a:cubicBezTo>
                    <a:pt x="344" y="52"/>
                    <a:pt x="355" y="44"/>
                    <a:pt x="355" y="29"/>
                  </a:cubicBezTo>
                  <a:cubicBezTo>
                    <a:pt x="355" y="8"/>
                    <a:pt x="332" y="2"/>
                    <a:pt x="313" y="2"/>
                  </a:cubicBezTo>
                  <a:cubicBezTo>
                    <a:pt x="307" y="2"/>
                    <a:pt x="304" y="2"/>
                    <a:pt x="297" y="2"/>
                  </a:cubicBezTo>
                  <a:cubicBezTo>
                    <a:pt x="289" y="2"/>
                    <a:pt x="281" y="2"/>
                    <a:pt x="274" y="2"/>
                  </a:cubicBezTo>
                  <a:cubicBezTo>
                    <a:pt x="274" y="7"/>
                    <a:pt x="274" y="7"/>
                    <a:pt x="274" y="7"/>
                  </a:cubicBezTo>
                  <a:cubicBezTo>
                    <a:pt x="274" y="8"/>
                    <a:pt x="274" y="8"/>
                    <a:pt x="275" y="8"/>
                  </a:cubicBezTo>
                  <a:cubicBezTo>
                    <a:pt x="288" y="10"/>
                    <a:pt x="288" y="11"/>
                    <a:pt x="288" y="32"/>
                  </a:cubicBezTo>
                  <a:cubicBezTo>
                    <a:pt x="288" y="88"/>
                    <a:pt x="288" y="88"/>
                    <a:pt x="288" y="88"/>
                  </a:cubicBezTo>
                  <a:cubicBezTo>
                    <a:pt x="288" y="109"/>
                    <a:pt x="288" y="109"/>
                    <a:pt x="275" y="111"/>
                  </a:cubicBezTo>
                  <a:cubicBezTo>
                    <a:pt x="274" y="111"/>
                    <a:pt x="274" y="112"/>
                    <a:pt x="274" y="113"/>
                  </a:cubicBezTo>
                  <a:cubicBezTo>
                    <a:pt x="274" y="117"/>
                    <a:pt x="274" y="117"/>
                    <a:pt x="274" y="117"/>
                  </a:cubicBezTo>
                  <a:cubicBezTo>
                    <a:pt x="282" y="117"/>
                    <a:pt x="289" y="117"/>
                    <a:pt x="297" y="117"/>
                  </a:cubicBezTo>
                  <a:cubicBezTo>
                    <a:pt x="306" y="117"/>
                    <a:pt x="310" y="117"/>
                    <a:pt x="320" y="117"/>
                  </a:cubicBezTo>
                  <a:cubicBezTo>
                    <a:pt x="349" y="117"/>
                    <a:pt x="367" y="103"/>
                    <a:pt x="367" y="85"/>
                  </a:cubicBezTo>
                  <a:close/>
                  <a:moveTo>
                    <a:pt x="349" y="85"/>
                  </a:moveTo>
                  <a:cubicBezTo>
                    <a:pt x="349" y="102"/>
                    <a:pt x="339" y="109"/>
                    <a:pt x="319" y="109"/>
                  </a:cubicBezTo>
                  <a:cubicBezTo>
                    <a:pt x="304" y="109"/>
                    <a:pt x="304" y="108"/>
                    <a:pt x="304" y="86"/>
                  </a:cubicBezTo>
                  <a:cubicBezTo>
                    <a:pt x="304" y="60"/>
                    <a:pt x="304" y="60"/>
                    <a:pt x="304" y="60"/>
                  </a:cubicBezTo>
                  <a:cubicBezTo>
                    <a:pt x="311" y="60"/>
                    <a:pt x="311" y="60"/>
                    <a:pt x="311" y="60"/>
                  </a:cubicBezTo>
                  <a:cubicBezTo>
                    <a:pt x="335" y="60"/>
                    <a:pt x="349" y="66"/>
                    <a:pt x="349" y="85"/>
                  </a:cubicBezTo>
                  <a:close/>
                  <a:moveTo>
                    <a:pt x="340" y="31"/>
                  </a:moveTo>
                  <a:cubicBezTo>
                    <a:pt x="340" y="47"/>
                    <a:pt x="329" y="53"/>
                    <a:pt x="311" y="53"/>
                  </a:cubicBezTo>
                  <a:cubicBezTo>
                    <a:pt x="304" y="53"/>
                    <a:pt x="304" y="53"/>
                    <a:pt x="304" y="53"/>
                  </a:cubicBezTo>
                  <a:cubicBezTo>
                    <a:pt x="304" y="12"/>
                    <a:pt x="304" y="12"/>
                    <a:pt x="304" y="12"/>
                  </a:cubicBezTo>
                  <a:cubicBezTo>
                    <a:pt x="304" y="10"/>
                    <a:pt x="304" y="10"/>
                    <a:pt x="306" y="10"/>
                  </a:cubicBezTo>
                  <a:cubicBezTo>
                    <a:pt x="308" y="10"/>
                    <a:pt x="314" y="10"/>
                    <a:pt x="316" y="10"/>
                  </a:cubicBezTo>
                  <a:cubicBezTo>
                    <a:pt x="331" y="10"/>
                    <a:pt x="340" y="16"/>
                    <a:pt x="340" y="31"/>
                  </a:cubicBezTo>
                  <a:close/>
                  <a:moveTo>
                    <a:pt x="875" y="118"/>
                  </a:moveTo>
                  <a:cubicBezTo>
                    <a:pt x="875" y="110"/>
                    <a:pt x="875" y="89"/>
                    <a:pt x="875" y="81"/>
                  </a:cubicBezTo>
                  <a:cubicBezTo>
                    <a:pt x="871" y="81"/>
                    <a:pt x="871" y="81"/>
                    <a:pt x="871" y="81"/>
                  </a:cubicBezTo>
                  <a:cubicBezTo>
                    <a:pt x="870" y="81"/>
                    <a:pt x="869" y="81"/>
                    <a:pt x="869" y="82"/>
                  </a:cubicBezTo>
                  <a:cubicBezTo>
                    <a:pt x="867" y="103"/>
                    <a:pt x="856" y="112"/>
                    <a:pt x="838" y="112"/>
                  </a:cubicBezTo>
                  <a:cubicBezTo>
                    <a:pt x="814" y="112"/>
                    <a:pt x="802" y="92"/>
                    <a:pt x="802" y="59"/>
                  </a:cubicBezTo>
                  <a:cubicBezTo>
                    <a:pt x="802" y="34"/>
                    <a:pt x="807" y="7"/>
                    <a:pt x="834" y="7"/>
                  </a:cubicBezTo>
                  <a:cubicBezTo>
                    <a:pt x="850" y="7"/>
                    <a:pt x="859" y="17"/>
                    <a:pt x="863" y="34"/>
                  </a:cubicBezTo>
                  <a:cubicBezTo>
                    <a:pt x="863" y="35"/>
                    <a:pt x="863" y="35"/>
                    <a:pt x="864" y="35"/>
                  </a:cubicBezTo>
                  <a:cubicBezTo>
                    <a:pt x="869" y="35"/>
                    <a:pt x="869" y="35"/>
                    <a:pt x="869" y="35"/>
                  </a:cubicBezTo>
                  <a:cubicBezTo>
                    <a:pt x="869" y="27"/>
                    <a:pt x="868" y="9"/>
                    <a:pt x="868" y="1"/>
                  </a:cubicBezTo>
                  <a:cubicBezTo>
                    <a:pt x="866" y="1"/>
                    <a:pt x="866" y="1"/>
                    <a:pt x="866" y="1"/>
                  </a:cubicBezTo>
                  <a:cubicBezTo>
                    <a:pt x="865" y="1"/>
                    <a:pt x="864" y="1"/>
                    <a:pt x="863" y="2"/>
                  </a:cubicBezTo>
                  <a:cubicBezTo>
                    <a:pt x="861" y="6"/>
                    <a:pt x="861" y="6"/>
                    <a:pt x="861" y="6"/>
                  </a:cubicBezTo>
                  <a:cubicBezTo>
                    <a:pt x="861" y="6"/>
                    <a:pt x="861" y="6"/>
                    <a:pt x="861" y="6"/>
                  </a:cubicBezTo>
                  <a:cubicBezTo>
                    <a:pt x="854" y="2"/>
                    <a:pt x="845" y="0"/>
                    <a:pt x="834" y="0"/>
                  </a:cubicBezTo>
                  <a:cubicBezTo>
                    <a:pt x="802" y="0"/>
                    <a:pt x="784" y="26"/>
                    <a:pt x="784" y="59"/>
                  </a:cubicBezTo>
                  <a:cubicBezTo>
                    <a:pt x="784" y="98"/>
                    <a:pt x="806" y="119"/>
                    <a:pt x="836" y="119"/>
                  </a:cubicBezTo>
                  <a:cubicBezTo>
                    <a:pt x="852" y="119"/>
                    <a:pt x="862" y="115"/>
                    <a:pt x="867" y="113"/>
                  </a:cubicBezTo>
                  <a:cubicBezTo>
                    <a:pt x="867" y="113"/>
                    <a:pt x="867" y="113"/>
                    <a:pt x="867" y="113"/>
                  </a:cubicBezTo>
                  <a:cubicBezTo>
                    <a:pt x="870" y="117"/>
                    <a:pt x="870" y="117"/>
                    <a:pt x="870" y="117"/>
                  </a:cubicBezTo>
                  <a:cubicBezTo>
                    <a:pt x="871" y="118"/>
                    <a:pt x="871" y="118"/>
                    <a:pt x="872" y="118"/>
                  </a:cubicBezTo>
                  <a:lnTo>
                    <a:pt x="875" y="118"/>
                  </a:lnTo>
                  <a:close/>
                  <a:moveTo>
                    <a:pt x="153" y="117"/>
                  </a:moveTo>
                  <a:cubicBezTo>
                    <a:pt x="147" y="117"/>
                    <a:pt x="140" y="117"/>
                    <a:pt x="135" y="117"/>
                  </a:cubicBezTo>
                  <a:cubicBezTo>
                    <a:pt x="135" y="113"/>
                    <a:pt x="135" y="113"/>
                    <a:pt x="135" y="113"/>
                  </a:cubicBezTo>
                  <a:cubicBezTo>
                    <a:pt x="135" y="112"/>
                    <a:pt x="135" y="112"/>
                    <a:pt x="136" y="112"/>
                  </a:cubicBezTo>
                  <a:cubicBezTo>
                    <a:pt x="146" y="111"/>
                    <a:pt x="146" y="110"/>
                    <a:pt x="146" y="96"/>
                  </a:cubicBezTo>
                  <a:cubicBezTo>
                    <a:pt x="146" y="79"/>
                    <a:pt x="146" y="79"/>
                    <a:pt x="146" y="79"/>
                  </a:cubicBezTo>
                  <a:cubicBezTo>
                    <a:pt x="110" y="79"/>
                    <a:pt x="110" y="79"/>
                    <a:pt x="110" y="79"/>
                  </a:cubicBezTo>
                  <a:cubicBezTo>
                    <a:pt x="110" y="96"/>
                    <a:pt x="110" y="96"/>
                    <a:pt x="110" y="96"/>
                  </a:cubicBezTo>
                  <a:cubicBezTo>
                    <a:pt x="110" y="110"/>
                    <a:pt x="110" y="111"/>
                    <a:pt x="120" y="112"/>
                  </a:cubicBezTo>
                  <a:cubicBezTo>
                    <a:pt x="121" y="112"/>
                    <a:pt x="121" y="112"/>
                    <a:pt x="121" y="113"/>
                  </a:cubicBezTo>
                  <a:cubicBezTo>
                    <a:pt x="121" y="117"/>
                    <a:pt x="121" y="117"/>
                    <a:pt x="121" y="117"/>
                  </a:cubicBezTo>
                  <a:cubicBezTo>
                    <a:pt x="116" y="117"/>
                    <a:pt x="109" y="117"/>
                    <a:pt x="103" y="117"/>
                  </a:cubicBezTo>
                  <a:cubicBezTo>
                    <a:pt x="98" y="117"/>
                    <a:pt x="91" y="117"/>
                    <a:pt x="86" y="117"/>
                  </a:cubicBezTo>
                  <a:cubicBezTo>
                    <a:pt x="86" y="113"/>
                    <a:pt x="86" y="113"/>
                    <a:pt x="86" y="113"/>
                  </a:cubicBezTo>
                  <a:cubicBezTo>
                    <a:pt x="86" y="112"/>
                    <a:pt x="86" y="112"/>
                    <a:pt x="86" y="112"/>
                  </a:cubicBezTo>
                  <a:cubicBezTo>
                    <a:pt x="96" y="111"/>
                    <a:pt x="96" y="110"/>
                    <a:pt x="96" y="96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6" y="45"/>
                    <a:pt x="96" y="44"/>
                    <a:pt x="86" y="43"/>
                  </a:cubicBezTo>
                  <a:cubicBezTo>
                    <a:pt x="86" y="43"/>
                    <a:pt x="86" y="43"/>
                    <a:pt x="86" y="42"/>
                  </a:cubicBezTo>
                  <a:cubicBezTo>
                    <a:pt x="86" y="38"/>
                    <a:pt x="86" y="38"/>
                    <a:pt x="86" y="38"/>
                  </a:cubicBezTo>
                  <a:cubicBezTo>
                    <a:pt x="91" y="38"/>
                    <a:pt x="98" y="38"/>
                    <a:pt x="103" y="38"/>
                  </a:cubicBezTo>
                  <a:cubicBezTo>
                    <a:pt x="109" y="38"/>
                    <a:pt x="116" y="38"/>
                    <a:pt x="121" y="38"/>
                  </a:cubicBezTo>
                  <a:cubicBezTo>
                    <a:pt x="121" y="42"/>
                    <a:pt x="121" y="42"/>
                    <a:pt x="121" y="42"/>
                  </a:cubicBezTo>
                  <a:cubicBezTo>
                    <a:pt x="121" y="43"/>
                    <a:pt x="121" y="43"/>
                    <a:pt x="120" y="43"/>
                  </a:cubicBezTo>
                  <a:cubicBezTo>
                    <a:pt x="110" y="44"/>
                    <a:pt x="110" y="45"/>
                    <a:pt x="110" y="59"/>
                  </a:cubicBezTo>
                  <a:cubicBezTo>
                    <a:pt x="110" y="73"/>
                    <a:pt x="110" y="73"/>
                    <a:pt x="110" y="73"/>
                  </a:cubicBezTo>
                  <a:cubicBezTo>
                    <a:pt x="146" y="73"/>
                    <a:pt x="146" y="73"/>
                    <a:pt x="146" y="73"/>
                  </a:cubicBezTo>
                  <a:cubicBezTo>
                    <a:pt x="146" y="59"/>
                    <a:pt x="146" y="59"/>
                    <a:pt x="146" y="59"/>
                  </a:cubicBezTo>
                  <a:cubicBezTo>
                    <a:pt x="146" y="45"/>
                    <a:pt x="146" y="44"/>
                    <a:pt x="136" y="43"/>
                  </a:cubicBezTo>
                  <a:cubicBezTo>
                    <a:pt x="135" y="43"/>
                    <a:pt x="135" y="43"/>
                    <a:pt x="135" y="42"/>
                  </a:cubicBezTo>
                  <a:cubicBezTo>
                    <a:pt x="135" y="38"/>
                    <a:pt x="135" y="38"/>
                    <a:pt x="135" y="38"/>
                  </a:cubicBezTo>
                  <a:cubicBezTo>
                    <a:pt x="140" y="38"/>
                    <a:pt x="147" y="38"/>
                    <a:pt x="153" y="38"/>
                  </a:cubicBezTo>
                  <a:cubicBezTo>
                    <a:pt x="158" y="38"/>
                    <a:pt x="165" y="38"/>
                    <a:pt x="171" y="38"/>
                  </a:cubicBezTo>
                  <a:cubicBezTo>
                    <a:pt x="171" y="42"/>
                    <a:pt x="171" y="42"/>
                    <a:pt x="171" y="42"/>
                  </a:cubicBezTo>
                  <a:cubicBezTo>
                    <a:pt x="171" y="43"/>
                    <a:pt x="170" y="43"/>
                    <a:pt x="170" y="43"/>
                  </a:cubicBezTo>
                  <a:cubicBezTo>
                    <a:pt x="160" y="44"/>
                    <a:pt x="160" y="45"/>
                    <a:pt x="160" y="59"/>
                  </a:cubicBezTo>
                  <a:cubicBezTo>
                    <a:pt x="160" y="96"/>
                    <a:pt x="160" y="96"/>
                    <a:pt x="160" y="96"/>
                  </a:cubicBezTo>
                  <a:cubicBezTo>
                    <a:pt x="160" y="110"/>
                    <a:pt x="160" y="111"/>
                    <a:pt x="170" y="112"/>
                  </a:cubicBezTo>
                  <a:cubicBezTo>
                    <a:pt x="170" y="112"/>
                    <a:pt x="171" y="112"/>
                    <a:pt x="171" y="113"/>
                  </a:cubicBezTo>
                  <a:cubicBezTo>
                    <a:pt x="171" y="117"/>
                    <a:pt x="171" y="117"/>
                    <a:pt x="171" y="117"/>
                  </a:cubicBezTo>
                  <a:cubicBezTo>
                    <a:pt x="165" y="117"/>
                    <a:pt x="158" y="117"/>
                    <a:pt x="153" y="117"/>
                  </a:cubicBezTo>
                  <a:close/>
                  <a:moveTo>
                    <a:pt x="219" y="117"/>
                  </a:moveTo>
                  <a:cubicBezTo>
                    <a:pt x="194" y="117"/>
                    <a:pt x="194" y="117"/>
                    <a:pt x="194" y="117"/>
                  </a:cubicBezTo>
                  <a:cubicBezTo>
                    <a:pt x="189" y="117"/>
                    <a:pt x="182" y="117"/>
                    <a:pt x="177" y="117"/>
                  </a:cubicBezTo>
                  <a:cubicBezTo>
                    <a:pt x="177" y="113"/>
                    <a:pt x="177" y="113"/>
                    <a:pt x="177" y="113"/>
                  </a:cubicBezTo>
                  <a:cubicBezTo>
                    <a:pt x="177" y="112"/>
                    <a:pt x="177" y="112"/>
                    <a:pt x="178" y="112"/>
                  </a:cubicBezTo>
                  <a:cubicBezTo>
                    <a:pt x="188" y="111"/>
                    <a:pt x="188" y="110"/>
                    <a:pt x="188" y="96"/>
                  </a:cubicBezTo>
                  <a:cubicBezTo>
                    <a:pt x="188" y="59"/>
                    <a:pt x="188" y="59"/>
                    <a:pt x="188" y="59"/>
                  </a:cubicBezTo>
                  <a:cubicBezTo>
                    <a:pt x="188" y="45"/>
                    <a:pt x="188" y="44"/>
                    <a:pt x="178" y="43"/>
                  </a:cubicBezTo>
                  <a:cubicBezTo>
                    <a:pt x="177" y="43"/>
                    <a:pt x="177" y="43"/>
                    <a:pt x="177" y="42"/>
                  </a:cubicBezTo>
                  <a:cubicBezTo>
                    <a:pt x="177" y="38"/>
                    <a:pt x="177" y="38"/>
                    <a:pt x="177" y="38"/>
                  </a:cubicBezTo>
                  <a:cubicBezTo>
                    <a:pt x="182" y="38"/>
                    <a:pt x="189" y="38"/>
                    <a:pt x="194" y="38"/>
                  </a:cubicBezTo>
                  <a:cubicBezTo>
                    <a:pt x="213" y="38"/>
                    <a:pt x="213" y="38"/>
                    <a:pt x="213" y="38"/>
                  </a:cubicBezTo>
                  <a:cubicBezTo>
                    <a:pt x="223" y="38"/>
                    <a:pt x="229" y="38"/>
                    <a:pt x="234" y="38"/>
                  </a:cubicBezTo>
                  <a:cubicBezTo>
                    <a:pt x="234" y="44"/>
                    <a:pt x="234" y="54"/>
                    <a:pt x="235" y="59"/>
                  </a:cubicBezTo>
                  <a:cubicBezTo>
                    <a:pt x="231" y="59"/>
                    <a:pt x="231" y="59"/>
                    <a:pt x="231" y="59"/>
                  </a:cubicBezTo>
                  <a:cubicBezTo>
                    <a:pt x="230" y="59"/>
                    <a:pt x="230" y="59"/>
                    <a:pt x="230" y="58"/>
                  </a:cubicBezTo>
                  <a:cubicBezTo>
                    <a:pt x="228" y="46"/>
                    <a:pt x="223" y="44"/>
                    <a:pt x="213" y="44"/>
                  </a:cubicBezTo>
                  <a:cubicBezTo>
                    <a:pt x="202" y="44"/>
                    <a:pt x="202" y="44"/>
                    <a:pt x="202" y="44"/>
                  </a:cubicBezTo>
                  <a:cubicBezTo>
                    <a:pt x="201" y="44"/>
                    <a:pt x="201" y="45"/>
                    <a:pt x="201" y="46"/>
                  </a:cubicBezTo>
                  <a:cubicBezTo>
                    <a:pt x="201" y="73"/>
                    <a:pt x="201" y="73"/>
                    <a:pt x="201" y="73"/>
                  </a:cubicBezTo>
                  <a:cubicBezTo>
                    <a:pt x="202" y="73"/>
                    <a:pt x="202" y="73"/>
                    <a:pt x="202" y="73"/>
                  </a:cubicBezTo>
                  <a:cubicBezTo>
                    <a:pt x="212" y="73"/>
                    <a:pt x="215" y="71"/>
                    <a:pt x="216" y="63"/>
                  </a:cubicBezTo>
                  <a:cubicBezTo>
                    <a:pt x="216" y="62"/>
                    <a:pt x="216" y="62"/>
                    <a:pt x="217" y="62"/>
                  </a:cubicBezTo>
                  <a:cubicBezTo>
                    <a:pt x="221" y="62"/>
                    <a:pt x="221" y="62"/>
                    <a:pt x="221" y="62"/>
                  </a:cubicBezTo>
                  <a:cubicBezTo>
                    <a:pt x="221" y="67"/>
                    <a:pt x="220" y="71"/>
                    <a:pt x="220" y="76"/>
                  </a:cubicBezTo>
                  <a:cubicBezTo>
                    <a:pt x="220" y="82"/>
                    <a:pt x="221" y="85"/>
                    <a:pt x="221" y="90"/>
                  </a:cubicBezTo>
                  <a:cubicBezTo>
                    <a:pt x="217" y="90"/>
                    <a:pt x="217" y="90"/>
                    <a:pt x="217" y="90"/>
                  </a:cubicBezTo>
                  <a:cubicBezTo>
                    <a:pt x="216" y="90"/>
                    <a:pt x="216" y="90"/>
                    <a:pt x="216" y="89"/>
                  </a:cubicBezTo>
                  <a:cubicBezTo>
                    <a:pt x="215" y="79"/>
                    <a:pt x="212" y="78"/>
                    <a:pt x="202" y="78"/>
                  </a:cubicBezTo>
                  <a:cubicBezTo>
                    <a:pt x="201" y="78"/>
                    <a:pt x="201" y="78"/>
                    <a:pt x="201" y="78"/>
                  </a:cubicBezTo>
                  <a:cubicBezTo>
                    <a:pt x="201" y="95"/>
                    <a:pt x="201" y="95"/>
                    <a:pt x="201" y="95"/>
                  </a:cubicBezTo>
                  <a:cubicBezTo>
                    <a:pt x="201" y="109"/>
                    <a:pt x="201" y="110"/>
                    <a:pt x="212" y="110"/>
                  </a:cubicBezTo>
                  <a:cubicBezTo>
                    <a:pt x="219" y="110"/>
                    <a:pt x="219" y="110"/>
                    <a:pt x="219" y="110"/>
                  </a:cubicBezTo>
                  <a:cubicBezTo>
                    <a:pt x="229" y="110"/>
                    <a:pt x="234" y="108"/>
                    <a:pt x="236" y="94"/>
                  </a:cubicBezTo>
                  <a:cubicBezTo>
                    <a:pt x="236" y="94"/>
                    <a:pt x="236" y="93"/>
                    <a:pt x="237" y="93"/>
                  </a:cubicBezTo>
                  <a:cubicBezTo>
                    <a:pt x="241" y="93"/>
                    <a:pt x="241" y="93"/>
                    <a:pt x="241" y="93"/>
                  </a:cubicBezTo>
                  <a:cubicBezTo>
                    <a:pt x="241" y="99"/>
                    <a:pt x="240" y="111"/>
                    <a:pt x="240" y="117"/>
                  </a:cubicBezTo>
                  <a:cubicBezTo>
                    <a:pt x="235" y="117"/>
                    <a:pt x="229" y="117"/>
                    <a:pt x="219" y="117"/>
                  </a:cubicBezTo>
                  <a:close/>
                  <a:moveTo>
                    <a:pt x="412" y="119"/>
                  </a:moveTo>
                  <a:cubicBezTo>
                    <a:pt x="391" y="119"/>
                    <a:pt x="374" y="103"/>
                    <a:pt x="374" y="79"/>
                  </a:cubicBezTo>
                  <a:cubicBezTo>
                    <a:pt x="374" y="50"/>
                    <a:pt x="392" y="36"/>
                    <a:pt x="412" y="36"/>
                  </a:cubicBezTo>
                  <a:cubicBezTo>
                    <a:pt x="434" y="36"/>
                    <a:pt x="451" y="52"/>
                    <a:pt x="451" y="76"/>
                  </a:cubicBezTo>
                  <a:cubicBezTo>
                    <a:pt x="451" y="105"/>
                    <a:pt x="433" y="119"/>
                    <a:pt x="412" y="119"/>
                  </a:cubicBezTo>
                  <a:close/>
                  <a:moveTo>
                    <a:pt x="411" y="43"/>
                  </a:moveTo>
                  <a:cubicBezTo>
                    <a:pt x="397" y="43"/>
                    <a:pt x="390" y="54"/>
                    <a:pt x="390" y="78"/>
                  </a:cubicBezTo>
                  <a:cubicBezTo>
                    <a:pt x="390" y="103"/>
                    <a:pt x="399" y="112"/>
                    <a:pt x="413" y="112"/>
                  </a:cubicBezTo>
                  <a:cubicBezTo>
                    <a:pt x="428" y="112"/>
                    <a:pt x="435" y="101"/>
                    <a:pt x="435" y="77"/>
                  </a:cubicBezTo>
                  <a:cubicBezTo>
                    <a:pt x="435" y="52"/>
                    <a:pt x="426" y="43"/>
                    <a:pt x="411" y="43"/>
                  </a:cubicBezTo>
                  <a:close/>
                  <a:moveTo>
                    <a:pt x="463" y="115"/>
                  </a:moveTo>
                  <a:cubicBezTo>
                    <a:pt x="461" y="117"/>
                    <a:pt x="461" y="117"/>
                    <a:pt x="461" y="117"/>
                  </a:cubicBezTo>
                  <a:cubicBezTo>
                    <a:pt x="461" y="118"/>
                    <a:pt x="460" y="118"/>
                    <a:pt x="459" y="118"/>
                  </a:cubicBezTo>
                  <a:cubicBezTo>
                    <a:pt x="457" y="118"/>
                    <a:pt x="457" y="118"/>
                    <a:pt x="457" y="118"/>
                  </a:cubicBezTo>
                  <a:cubicBezTo>
                    <a:pt x="457" y="113"/>
                    <a:pt x="457" y="98"/>
                    <a:pt x="457" y="93"/>
                  </a:cubicBezTo>
                  <a:cubicBezTo>
                    <a:pt x="461" y="93"/>
                    <a:pt x="461" y="93"/>
                    <a:pt x="461" y="93"/>
                  </a:cubicBezTo>
                  <a:cubicBezTo>
                    <a:pt x="461" y="93"/>
                    <a:pt x="462" y="93"/>
                    <a:pt x="462" y="93"/>
                  </a:cubicBezTo>
                  <a:cubicBezTo>
                    <a:pt x="464" y="106"/>
                    <a:pt x="470" y="112"/>
                    <a:pt x="481" y="112"/>
                  </a:cubicBezTo>
                  <a:cubicBezTo>
                    <a:pt x="491" y="112"/>
                    <a:pt x="497" y="108"/>
                    <a:pt x="497" y="101"/>
                  </a:cubicBezTo>
                  <a:cubicBezTo>
                    <a:pt x="497" y="79"/>
                    <a:pt x="457" y="86"/>
                    <a:pt x="457" y="59"/>
                  </a:cubicBezTo>
                  <a:cubicBezTo>
                    <a:pt x="457" y="45"/>
                    <a:pt x="467" y="36"/>
                    <a:pt x="481" y="36"/>
                  </a:cubicBezTo>
                  <a:cubicBezTo>
                    <a:pt x="486" y="36"/>
                    <a:pt x="493" y="37"/>
                    <a:pt x="497" y="41"/>
                  </a:cubicBezTo>
                  <a:cubicBezTo>
                    <a:pt x="499" y="39"/>
                    <a:pt x="499" y="39"/>
                    <a:pt x="499" y="39"/>
                  </a:cubicBezTo>
                  <a:cubicBezTo>
                    <a:pt x="499" y="38"/>
                    <a:pt x="499" y="38"/>
                    <a:pt x="500" y="38"/>
                  </a:cubicBezTo>
                  <a:cubicBezTo>
                    <a:pt x="503" y="38"/>
                    <a:pt x="503" y="38"/>
                    <a:pt x="503" y="38"/>
                  </a:cubicBezTo>
                  <a:cubicBezTo>
                    <a:pt x="503" y="43"/>
                    <a:pt x="503" y="56"/>
                    <a:pt x="503" y="61"/>
                  </a:cubicBezTo>
                  <a:cubicBezTo>
                    <a:pt x="499" y="61"/>
                    <a:pt x="499" y="61"/>
                    <a:pt x="499" y="61"/>
                  </a:cubicBezTo>
                  <a:cubicBezTo>
                    <a:pt x="499" y="61"/>
                    <a:pt x="499" y="61"/>
                    <a:pt x="498" y="61"/>
                  </a:cubicBezTo>
                  <a:cubicBezTo>
                    <a:pt x="496" y="50"/>
                    <a:pt x="491" y="43"/>
                    <a:pt x="481" y="43"/>
                  </a:cubicBezTo>
                  <a:cubicBezTo>
                    <a:pt x="472" y="43"/>
                    <a:pt x="468" y="48"/>
                    <a:pt x="468" y="53"/>
                  </a:cubicBezTo>
                  <a:cubicBezTo>
                    <a:pt x="468" y="74"/>
                    <a:pt x="509" y="67"/>
                    <a:pt x="509" y="94"/>
                  </a:cubicBezTo>
                  <a:cubicBezTo>
                    <a:pt x="509" y="111"/>
                    <a:pt x="495" y="119"/>
                    <a:pt x="481" y="119"/>
                  </a:cubicBezTo>
                  <a:cubicBezTo>
                    <a:pt x="473" y="119"/>
                    <a:pt x="467" y="117"/>
                    <a:pt x="463" y="115"/>
                  </a:cubicBezTo>
                  <a:close/>
                  <a:moveTo>
                    <a:pt x="547" y="117"/>
                  </a:moveTo>
                  <a:cubicBezTo>
                    <a:pt x="541" y="117"/>
                    <a:pt x="534" y="117"/>
                    <a:pt x="529" y="117"/>
                  </a:cubicBezTo>
                  <a:cubicBezTo>
                    <a:pt x="529" y="113"/>
                    <a:pt x="529" y="113"/>
                    <a:pt x="529" y="113"/>
                  </a:cubicBezTo>
                  <a:cubicBezTo>
                    <a:pt x="529" y="112"/>
                    <a:pt x="529" y="112"/>
                    <a:pt x="530" y="112"/>
                  </a:cubicBezTo>
                  <a:cubicBezTo>
                    <a:pt x="540" y="111"/>
                    <a:pt x="540" y="110"/>
                    <a:pt x="540" y="96"/>
                  </a:cubicBezTo>
                  <a:cubicBezTo>
                    <a:pt x="540" y="46"/>
                    <a:pt x="540" y="46"/>
                    <a:pt x="540" y="46"/>
                  </a:cubicBezTo>
                  <a:cubicBezTo>
                    <a:pt x="540" y="45"/>
                    <a:pt x="540" y="44"/>
                    <a:pt x="539" y="44"/>
                  </a:cubicBezTo>
                  <a:cubicBezTo>
                    <a:pt x="532" y="44"/>
                    <a:pt x="532" y="44"/>
                    <a:pt x="532" y="44"/>
                  </a:cubicBezTo>
                  <a:cubicBezTo>
                    <a:pt x="522" y="44"/>
                    <a:pt x="517" y="46"/>
                    <a:pt x="515" y="61"/>
                  </a:cubicBezTo>
                  <a:cubicBezTo>
                    <a:pt x="515" y="61"/>
                    <a:pt x="515" y="61"/>
                    <a:pt x="514" y="61"/>
                  </a:cubicBezTo>
                  <a:cubicBezTo>
                    <a:pt x="511" y="61"/>
                    <a:pt x="511" y="61"/>
                    <a:pt x="511" y="61"/>
                  </a:cubicBezTo>
                  <a:cubicBezTo>
                    <a:pt x="511" y="56"/>
                    <a:pt x="511" y="44"/>
                    <a:pt x="511" y="38"/>
                  </a:cubicBezTo>
                  <a:cubicBezTo>
                    <a:pt x="516" y="38"/>
                    <a:pt x="522" y="38"/>
                    <a:pt x="532" y="38"/>
                  </a:cubicBezTo>
                  <a:cubicBezTo>
                    <a:pt x="561" y="38"/>
                    <a:pt x="561" y="38"/>
                    <a:pt x="561" y="38"/>
                  </a:cubicBezTo>
                  <a:cubicBezTo>
                    <a:pt x="571" y="38"/>
                    <a:pt x="577" y="38"/>
                    <a:pt x="582" y="38"/>
                  </a:cubicBezTo>
                  <a:cubicBezTo>
                    <a:pt x="582" y="44"/>
                    <a:pt x="583" y="56"/>
                    <a:pt x="583" y="61"/>
                  </a:cubicBezTo>
                  <a:cubicBezTo>
                    <a:pt x="579" y="61"/>
                    <a:pt x="579" y="61"/>
                    <a:pt x="579" y="61"/>
                  </a:cubicBezTo>
                  <a:cubicBezTo>
                    <a:pt x="578" y="61"/>
                    <a:pt x="578" y="61"/>
                    <a:pt x="578" y="61"/>
                  </a:cubicBezTo>
                  <a:cubicBezTo>
                    <a:pt x="576" y="46"/>
                    <a:pt x="571" y="44"/>
                    <a:pt x="561" y="44"/>
                  </a:cubicBezTo>
                  <a:cubicBezTo>
                    <a:pt x="555" y="44"/>
                    <a:pt x="555" y="44"/>
                    <a:pt x="555" y="44"/>
                  </a:cubicBezTo>
                  <a:cubicBezTo>
                    <a:pt x="554" y="44"/>
                    <a:pt x="554" y="45"/>
                    <a:pt x="554" y="46"/>
                  </a:cubicBezTo>
                  <a:cubicBezTo>
                    <a:pt x="554" y="96"/>
                    <a:pt x="554" y="96"/>
                    <a:pt x="554" y="96"/>
                  </a:cubicBezTo>
                  <a:cubicBezTo>
                    <a:pt x="554" y="110"/>
                    <a:pt x="554" y="111"/>
                    <a:pt x="563" y="112"/>
                  </a:cubicBezTo>
                  <a:cubicBezTo>
                    <a:pt x="564" y="112"/>
                    <a:pt x="564" y="112"/>
                    <a:pt x="564" y="113"/>
                  </a:cubicBezTo>
                  <a:cubicBezTo>
                    <a:pt x="564" y="117"/>
                    <a:pt x="564" y="117"/>
                    <a:pt x="564" y="117"/>
                  </a:cubicBezTo>
                  <a:cubicBezTo>
                    <a:pt x="559" y="117"/>
                    <a:pt x="552" y="117"/>
                    <a:pt x="547" y="117"/>
                  </a:cubicBezTo>
                  <a:close/>
                  <a:moveTo>
                    <a:pt x="622" y="119"/>
                  </a:moveTo>
                  <a:cubicBezTo>
                    <a:pt x="601" y="119"/>
                    <a:pt x="584" y="103"/>
                    <a:pt x="584" y="79"/>
                  </a:cubicBezTo>
                  <a:cubicBezTo>
                    <a:pt x="584" y="50"/>
                    <a:pt x="602" y="36"/>
                    <a:pt x="622" y="36"/>
                  </a:cubicBezTo>
                  <a:cubicBezTo>
                    <a:pt x="644" y="36"/>
                    <a:pt x="660" y="52"/>
                    <a:pt x="660" y="76"/>
                  </a:cubicBezTo>
                  <a:cubicBezTo>
                    <a:pt x="660" y="105"/>
                    <a:pt x="643" y="119"/>
                    <a:pt x="622" y="119"/>
                  </a:cubicBezTo>
                  <a:close/>
                  <a:moveTo>
                    <a:pt x="621" y="43"/>
                  </a:moveTo>
                  <a:cubicBezTo>
                    <a:pt x="607" y="43"/>
                    <a:pt x="600" y="54"/>
                    <a:pt x="600" y="78"/>
                  </a:cubicBezTo>
                  <a:cubicBezTo>
                    <a:pt x="600" y="103"/>
                    <a:pt x="609" y="112"/>
                    <a:pt x="623" y="112"/>
                  </a:cubicBezTo>
                  <a:cubicBezTo>
                    <a:pt x="638" y="112"/>
                    <a:pt x="645" y="101"/>
                    <a:pt x="645" y="77"/>
                  </a:cubicBezTo>
                  <a:cubicBezTo>
                    <a:pt x="645" y="52"/>
                    <a:pt x="635" y="43"/>
                    <a:pt x="621" y="43"/>
                  </a:cubicBezTo>
                  <a:close/>
                  <a:moveTo>
                    <a:pt x="729" y="119"/>
                  </a:moveTo>
                  <a:cubicBezTo>
                    <a:pt x="727" y="115"/>
                    <a:pt x="724" y="111"/>
                    <a:pt x="721" y="107"/>
                  </a:cubicBezTo>
                  <a:cubicBezTo>
                    <a:pt x="684" y="53"/>
                    <a:pt x="684" y="53"/>
                    <a:pt x="684" y="53"/>
                  </a:cubicBezTo>
                  <a:cubicBezTo>
                    <a:pt x="683" y="53"/>
                    <a:pt x="683" y="53"/>
                    <a:pt x="683" y="53"/>
                  </a:cubicBezTo>
                  <a:cubicBezTo>
                    <a:pt x="683" y="84"/>
                    <a:pt x="683" y="84"/>
                    <a:pt x="683" y="84"/>
                  </a:cubicBezTo>
                  <a:cubicBezTo>
                    <a:pt x="683" y="108"/>
                    <a:pt x="683" y="111"/>
                    <a:pt x="697" y="112"/>
                  </a:cubicBezTo>
                  <a:cubicBezTo>
                    <a:pt x="698" y="112"/>
                    <a:pt x="698" y="112"/>
                    <a:pt x="698" y="113"/>
                  </a:cubicBezTo>
                  <a:cubicBezTo>
                    <a:pt x="698" y="117"/>
                    <a:pt x="698" y="117"/>
                    <a:pt x="698" y="117"/>
                  </a:cubicBezTo>
                  <a:cubicBezTo>
                    <a:pt x="693" y="117"/>
                    <a:pt x="685" y="117"/>
                    <a:pt x="679" y="117"/>
                  </a:cubicBezTo>
                  <a:cubicBezTo>
                    <a:pt x="673" y="117"/>
                    <a:pt x="669" y="117"/>
                    <a:pt x="664" y="117"/>
                  </a:cubicBezTo>
                  <a:cubicBezTo>
                    <a:pt x="664" y="113"/>
                    <a:pt x="664" y="113"/>
                    <a:pt x="664" y="113"/>
                  </a:cubicBezTo>
                  <a:cubicBezTo>
                    <a:pt x="664" y="112"/>
                    <a:pt x="664" y="112"/>
                    <a:pt x="665" y="112"/>
                  </a:cubicBezTo>
                  <a:cubicBezTo>
                    <a:pt x="675" y="111"/>
                    <a:pt x="675" y="108"/>
                    <a:pt x="675" y="84"/>
                  </a:cubicBezTo>
                  <a:cubicBezTo>
                    <a:pt x="675" y="59"/>
                    <a:pt x="675" y="59"/>
                    <a:pt x="675" y="59"/>
                  </a:cubicBezTo>
                  <a:cubicBezTo>
                    <a:pt x="675" y="45"/>
                    <a:pt x="675" y="44"/>
                    <a:pt x="665" y="43"/>
                  </a:cubicBezTo>
                  <a:cubicBezTo>
                    <a:pt x="664" y="43"/>
                    <a:pt x="664" y="43"/>
                    <a:pt x="664" y="42"/>
                  </a:cubicBezTo>
                  <a:cubicBezTo>
                    <a:pt x="664" y="38"/>
                    <a:pt x="664" y="38"/>
                    <a:pt x="664" y="38"/>
                  </a:cubicBezTo>
                  <a:cubicBezTo>
                    <a:pt x="668" y="38"/>
                    <a:pt x="675" y="38"/>
                    <a:pt x="678" y="38"/>
                  </a:cubicBezTo>
                  <a:cubicBezTo>
                    <a:pt x="683" y="38"/>
                    <a:pt x="687" y="38"/>
                    <a:pt x="690" y="38"/>
                  </a:cubicBezTo>
                  <a:cubicBezTo>
                    <a:pt x="730" y="96"/>
                    <a:pt x="730" y="96"/>
                    <a:pt x="730" y="96"/>
                  </a:cubicBezTo>
                  <a:cubicBezTo>
                    <a:pt x="731" y="96"/>
                    <a:pt x="731" y="96"/>
                    <a:pt x="731" y="96"/>
                  </a:cubicBezTo>
                  <a:cubicBezTo>
                    <a:pt x="731" y="71"/>
                    <a:pt x="731" y="71"/>
                    <a:pt x="731" y="71"/>
                  </a:cubicBezTo>
                  <a:cubicBezTo>
                    <a:pt x="731" y="47"/>
                    <a:pt x="730" y="44"/>
                    <a:pt x="716" y="43"/>
                  </a:cubicBezTo>
                  <a:cubicBezTo>
                    <a:pt x="716" y="43"/>
                    <a:pt x="716" y="43"/>
                    <a:pt x="716" y="42"/>
                  </a:cubicBezTo>
                  <a:cubicBezTo>
                    <a:pt x="716" y="38"/>
                    <a:pt x="716" y="38"/>
                    <a:pt x="716" y="38"/>
                  </a:cubicBezTo>
                  <a:cubicBezTo>
                    <a:pt x="721" y="38"/>
                    <a:pt x="729" y="38"/>
                    <a:pt x="735" y="38"/>
                  </a:cubicBezTo>
                  <a:cubicBezTo>
                    <a:pt x="740" y="38"/>
                    <a:pt x="744" y="38"/>
                    <a:pt x="750" y="38"/>
                  </a:cubicBezTo>
                  <a:cubicBezTo>
                    <a:pt x="750" y="42"/>
                    <a:pt x="750" y="42"/>
                    <a:pt x="750" y="42"/>
                  </a:cubicBezTo>
                  <a:cubicBezTo>
                    <a:pt x="750" y="43"/>
                    <a:pt x="750" y="43"/>
                    <a:pt x="749" y="43"/>
                  </a:cubicBezTo>
                  <a:cubicBezTo>
                    <a:pt x="739" y="44"/>
                    <a:pt x="739" y="47"/>
                    <a:pt x="739" y="71"/>
                  </a:cubicBezTo>
                  <a:cubicBezTo>
                    <a:pt x="739" y="119"/>
                    <a:pt x="739" y="119"/>
                    <a:pt x="739" y="119"/>
                  </a:cubicBezTo>
                  <a:lnTo>
                    <a:pt x="729" y="119"/>
                  </a:lnTo>
                  <a:close/>
                  <a:moveTo>
                    <a:pt x="921" y="119"/>
                  </a:moveTo>
                  <a:cubicBezTo>
                    <a:pt x="900" y="119"/>
                    <a:pt x="883" y="103"/>
                    <a:pt x="883" y="79"/>
                  </a:cubicBezTo>
                  <a:cubicBezTo>
                    <a:pt x="883" y="50"/>
                    <a:pt x="901" y="36"/>
                    <a:pt x="921" y="36"/>
                  </a:cubicBezTo>
                  <a:cubicBezTo>
                    <a:pt x="943" y="36"/>
                    <a:pt x="960" y="52"/>
                    <a:pt x="960" y="76"/>
                  </a:cubicBezTo>
                  <a:cubicBezTo>
                    <a:pt x="960" y="105"/>
                    <a:pt x="942" y="119"/>
                    <a:pt x="921" y="119"/>
                  </a:cubicBezTo>
                  <a:close/>
                  <a:moveTo>
                    <a:pt x="920" y="43"/>
                  </a:moveTo>
                  <a:cubicBezTo>
                    <a:pt x="906" y="43"/>
                    <a:pt x="899" y="54"/>
                    <a:pt x="899" y="78"/>
                  </a:cubicBezTo>
                  <a:cubicBezTo>
                    <a:pt x="899" y="103"/>
                    <a:pt x="908" y="112"/>
                    <a:pt x="922" y="112"/>
                  </a:cubicBezTo>
                  <a:cubicBezTo>
                    <a:pt x="937" y="112"/>
                    <a:pt x="944" y="101"/>
                    <a:pt x="944" y="77"/>
                  </a:cubicBezTo>
                  <a:cubicBezTo>
                    <a:pt x="944" y="52"/>
                    <a:pt x="935" y="43"/>
                    <a:pt x="920" y="43"/>
                  </a:cubicBezTo>
                  <a:close/>
                  <a:moveTo>
                    <a:pt x="1029" y="119"/>
                  </a:moveTo>
                  <a:cubicBezTo>
                    <a:pt x="1026" y="115"/>
                    <a:pt x="1023" y="111"/>
                    <a:pt x="1020" y="107"/>
                  </a:cubicBezTo>
                  <a:cubicBezTo>
                    <a:pt x="983" y="53"/>
                    <a:pt x="983" y="53"/>
                    <a:pt x="983" y="53"/>
                  </a:cubicBezTo>
                  <a:cubicBezTo>
                    <a:pt x="982" y="53"/>
                    <a:pt x="982" y="53"/>
                    <a:pt x="982" y="53"/>
                  </a:cubicBezTo>
                  <a:cubicBezTo>
                    <a:pt x="982" y="84"/>
                    <a:pt x="982" y="84"/>
                    <a:pt x="982" y="84"/>
                  </a:cubicBezTo>
                  <a:cubicBezTo>
                    <a:pt x="982" y="108"/>
                    <a:pt x="983" y="111"/>
                    <a:pt x="996" y="112"/>
                  </a:cubicBezTo>
                  <a:cubicBezTo>
                    <a:pt x="997" y="112"/>
                    <a:pt x="997" y="112"/>
                    <a:pt x="997" y="113"/>
                  </a:cubicBezTo>
                  <a:cubicBezTo>
                    <a:pt x="997" y="117"/>
                    <a:pt x="997" y="117"/>
                    <a:pt x="997" y="117"/>
                  </a:cubicBezTo>
                  <a:cubicBezTo>
                    <a:pt x="992" y="117"/>
                    <a:pt x="984" y="117"/>
                    <a:pt x="978" y="117"/>
                  </a:cubicBezTo>
                  <a:cubicBezTo>
                    <a:pt x="972" y="117"/>
                    <a:pt x="969" y="117"/>
                    <a:pt x="963" y="117"/>
                  </a:cubicBezTo>
                  <a:cubicBezTo>
                    <a:pt x="963" y="113"/>
                    <a:pt x="963" y="113"/>
                    <a:pt x="963" y="113"/>
                  </a:cubicBezTo>
                  <a:cubicBezTo>
                    <a:pt x="963" y="112"/>
                    <a:pt x="963" y="112"/>
                    <a:pt x="964" y="112"/>
                  </a:cubicBezTo>
                  <a:cubicBezTo>
                    <a:pt x="974" y="111"/>
                    <a:pt x="974" y="108"/>
                    <a:pt x="974" y="84"/>
                  </a:cubicBezTo>
                  <a:cubicBezTo>
                    <a:pt x="974" y="59"/>
                    <a:pt x="974" y="59"/>
                    <a:pt x="974" y="59"/>
                  </a:cubicBezTo>
                  <a:cubicBezTo>
                    <a:pt x="974" y="45"/>
                    <a:pt x="974" y="44"/>
                    <a:pt x="964" y="43"/>
                  </a:cubicBezTo>
                  <a:cubicBezTo>
                    <a:pt x="963" y="43"/>
                    <a:pt x="963" y="43"/>
                    <a:pt x="963" y="42"/>
                  </a:cubicBezTo>
                  <a:cubicBezTo>
                    <a:pt x="963" y="38"/>
                    <a:pt x="963" y="38"/>
                    <a:pt x="963" y="38"/>
                  </a:cubicBezTo>
                  <a:cubicBezTo>
                    <a:pt x="968" y="38"/>
                    <a:pt x="974" y="38"/>
                    <a:pt x="977" y="38"/>
                  </a:cubicBezTo>
                  <a:cubicBezTo>
                    <a:pt x="982" y="38"/>
                    <a:pt x="986" y="38"/>
                    <a:pt x="989" y="38"/>
                  </a:cubicBezTo>
                  <a:cubicBezTo>
                    <a:pt x="1029" y="96"/>
                    <a:pt x="1029" y="96"/>
                    <a:pt x="1029" y="96"/>
                  </a:cubicBezTo>
                  <a:cubicBezTo>
                    <a:pt x="1030" y="96"/>
                    <a:pt x="1030" y="96"/>
                    <a:pt x="1030" y="96"/>
                  </a:cubicBezTo>
                  <a:cubicBezTo>
                    <a:pt x="1030" y="71"/>
                    <a:pt x="1030" y="71"/>
                    <a:pt x="1030" y="71"/>
                  </a:cubicBezTo>
                  <a:cubicBezTo>
                    <a:pt x="1030" y="47"/>
                    <a:pt x="1030" y="44"/>
                    <a:pt x="1016" y="43"/>
                  </a:cubicBezTo>
                  <a:cubicBezTo>
                    <a:pt x="1015" y="43"/>
                    <a:pt x="1015" y="43"/>
                    <a:pt x="1015" y="42"/>
                  </a:cubicBezTo>
                  <a:cubicBezTo>
                    <a:pt x="1015" y="38"/>
                    <a:pt x="1015" y="38"/>
                    <a:pt x="1015" y="38"/>
                  </a:cubicBezTo>
                  <a:cubicBezTo>
                    <a:pt x="1020" y="38"/>
                    <a:pt x="1028" y="38"/>
                    <a:pt x="1034" y="38"/>
                  </a:cubicBezTo>
                  <a:cubicBezTo>
                    <a:pt x="1040" y="38"/>
                    <a:pt x="1044" y="38"/>
                    <a:pt x="1049" y="38"/>
                  </a:cubicBezTo>
                  <a:cubicBezTo>
                    <a:pt x="1049" y="42"/>
                    <a:pt x="1049" y="42"/>
                    <a:pt x="1049" y="42"/>
                  </a:cubicBezTo>
                  <a:cubicBezTo>
                    <a:pt x="1049" y="43"/>
                    <a:pt x="1049" y="43"/>
                    <a:pt x="1048" y="43"/>
                  </a:cubicBezTo>
                  <a:cubicBezTo>
                    <a:pt x="1038" y="44"/>
                    <a:pt x="1038" y="47"/>
                    <a:pt x="1038" y="71"/>
                  </a:cubicBezTo>
                  <a:cubicBezTo>
                    <a:pt x="1038" y="119"/>
                    <a:pt x="1038" y="119"/>
                    <a:pt x="1038" y="119"/>
                  </a:cubicBezTo>
                  <a:lnTo>
                    <a:pt x="1029" y="119"/>
                  </a:lnTo>
                  <a:close/>
                  <a:moveTo>
                    <a:pt x="1062" y="115"/>
                  </a:moveTo>
                  <a:cubicBezTo>
                    <a:pt x="1060" y="117"/>
                    <a:pt x="1060" y="117"/>
                    <a:pt x="1060" y="117"/>
                  </a:cubicBezTo>
                  <a:cubicBezTo>
                    <a:pt x="1060" y="118"/>
                    <a:pt x="1059" y="118"/>
                    <a:pt x="1059" y="118"/>
                  </a:cubicBezTo>
                  <a:cubicBezTo>
                    <a:pt x="1056" y="118"/>
                    <a:pt x="1056" y="118"/>
                    <a:pt x="1056" y="118"/>
                  </a:cubicBezTo>
                  <a:cubicBezTo>
                    <a:pt x="1056" y="113"/>
                    <a:pt x="1056" y="98"/>
                    <a:pt x="1056" y="93"/>
                  </a:cubicBezTo>
                  <a:cubicBezTo>
                    <a:pt x="1060" y="93"/>
                    <a:pt x="1060" y="93"/>
                    <a:pt x="1060" y="93"/>
                  </a:cubicBezTo>
                  <a:cubicBezTo>
                    <a:pt x="1060" y="93"/>
                    <a:pt x="1061" y="93"/>
                    <a:pt x="1061" y="93"/>
                  </a:cubicBezTo>
                  <a:cubicBezTo>
                    <a:pt x="1063" y="106"/>
                    <a:pt x="1069" y="112"/>
                    <a:pt x="1080" y="112"/>
                  </a:cubicBezTo>
                  <a:cubicBezTo>
                    <a:pt x="1090" y="112"/>
                    <a:pt x="1097" y="108"/>
                    <a:pt x="1097" y="101"/>
                  </a:cubicBezTo>
                  <a:cubicBezTo>
                    <a:pt x="1097" y="79"/>
                    <a:pt x="1056" y="86"/>
                    <a:pt x="1056" y="59"/>
                  </a:cubicBezTo>
                  <a:cubicBezTo>
                    <a:pt x="1056" y="45"/>
                    <a:pt x="1066" y="36"/>
                    <a:pt x="1080" y="36"/>
                  </a:cubicBezTo>
                  <a:cubicBezTo>
                    <a:pt x="1085" y="36"/>
                    <a:pt x="1091" y="37"/>
                    <a:pt x="1096" y="40"/>
                  </a:cubicBezTo>
                  <a:cubicBezTo>
                    <a:pt x="1098" y="38"/>
                    <a:pt x="1098" y="38"/>
                    <a:pt x="1098" y="38"/>
                  </a:cubicBezTo>
                  <a:cubicBezTo>
                    <a:pt x="1098" y="37"/>
                    <a:pt x="1099" y="37"/>
                    <a:pt x="1100" y="37"/>
                  </a:cubicBezTo>
                  <a:cubicBezTo>
                    <a:pt x="1102" y="37"/>
                    <a:pt x="1102" y="37"/>
                    <a:pt x="1102" y="37"/>
                  </a:cubicBezTo>
                  <a:cubicBezTo>
                    <a:pt x="1102" y="42"/>
                    <a:pt x="1102" y="54"/>
                    <a:pt x="1102" y="59"/>
                  </a:cubicBezTo>
                  <a:cubicBezTo>
                    <a:pt x="1099" y="59"/>
                    <a:pt x="1099" y="59"/>
                    <a:pt x="1099" y="59"/>
                  </a:cubicBezTo>
                  <a:cubicBezTo>
                    <a:pt x="1098" y="59"/>
                    <a:pt x="1098" y="59"/>
                    <a:pt x="1098" y="58"/>
                  </a:cubicBezTo>
                  <a:cubicBezTo>
                    <a:pt x="1096" y="50"/>
                    <a:pt x="1090" y="43"/>
                    <a:pt x="1080" y="43"/>
                  </a:cubicBezTo>
                  <a:cubicBezTo>
                    <a:pt x="1071" y="43"/>
                    <a:pt x="1068" y="48"/>
                    <a:pt x="1068" y="53"/>
                  </a:cubicBezTo>
                  <a:cubicBezTo>
                    <a:pt x="1068" y="74"/>
                    <a:pt x="1109" y="67"/>
                    <a:pt x="1109" y="94"/>
                  </a:cubicBezTo>
                  <a:cubicBezTo>
                    <a:pt x="1109" y="111"/>
                    <a:pt x="1094" y="119"/>
                    <a:pt x="1081" y="119"/>
                  </a:cubicBezTo>
                  <a:cubicBezTo>
                    <a:pt x="1072" y="119"/>
                    <a:pt x="1067" y="117"/>
                    <a:pt x="1062" y="115"/>
                  </a:cubicBezTo>
                  <a:close/>
                  <a:moveTo>
                    <a:pt x="1155" y="119"/>
                  </a:moveTo>
                  <a:cubicBezTo>
                    <a:pt x="1132" y="119"/>
                    <a:pt x="1122" y="110"/>
                    <a:pt x="1122" y="89"/>
                  </a:cubicBezTo>
                  <a:cubicBezTo>
                    <a:pt x="1122" y="59"/>
                    <a:pt x="1122" y="59"/>
                    <a:pt x="1122" y="59"/>
                  </a:cubicBezTo>
                  <a:cubicBezTo>
                    <a:pt x="1122" y="45"/>
                    <a:pt x="1122" y="44"/>
                    <a:pt x="1113" y="43"/>
                  </a:cubicBezTo>
                  <a:cubicBezTo>
                    <a:pt x="1112" y="43"/>
                    <a:pt x="1111" y="43"/>
                    <a:pt x="1111" y="42"/>
                  </a:cubicBezTo>
                  <a:cubicBezTo>
                    <a:pt x="1111" y="38"/>
                    <a:pt x="1111" y="38"/>
                    <a:pt x="1111" y="38"/>
                  </a:cubicBezTo>
                  <a:cubicBezTo>
                    <a:pt x="1117" y="38"/>
                    <a:pt x="1124" y="38"/>
                    <a:pt x="1129" y="38"/>
                  </a:cubicBezTo>
                  <a:cubicBezTo>
                    <a:pt x="1135" y="38"/>
                    <a:pt x="1142" y="38"/>
                    <a:pt x="1147" y="38"/>
                  </a:cubicBezTo>
                  <a:cubicBezTo>
                    <a:pt x="1147" y="42"/>
                    <a:pt x="1147" y="42"/>
                    <a:pt x="1147" y="42"/>
                  </a:cubicBezTo>
                  <a:cubicBezTo>
                    <a:pt x="1147" y="43"/>
                    <a:pt x="1147" y="43"/>
                    <a:pt x="1146" y="43"/>
                  </a:cubicBezTo>
                  <a:cubicBezTo>
                    <a:pt x="1136" y="44"/>
                    <a:pt x="1136" y="45"/>
                    <a:pt x="1136" y="59"/>
                  </a:cubicBezTo>
                  <a:cubicBezTo>
                    <a:pt x="1136" y="91"/>
                    <a:pt x="1136" y="91"/>
                    <a:pt x="1136" y="91"/>
                  </a:cubicBezTo>
                  <a:cubicBezTo>
                    <a:pt x="1136" y="103"/>
                    <a:pt x="1142" y="110"/>
                    <a:pt x="1157" y="110"/>
                  </a:cubicBezTo>
                  <a:cubicBezTo>
                    <a:pt x="1170" y="110"/>
                    <a:pt x="1177" y="103"/>
                    <a:pt x="1177" y="90"/>
                  </a:cubicBezTo>
                  <a:cubicBezTo>
                    <a:pt x="1177" y="71"/>
                    <a:pt x="1177" y="71"/>
                    <a:pt x="1177" y="71"/>
                  </a:cubicBezTo>
                  <a:cubicBezTo>
                    <a:pt x="1177" y="46"/>
                    <a:pt x="1177" y="45"/>
                    <a:pt x="1163" y="43"/>
                  </a:cubicBezTo>
                  <a:cubicBezTo>
                    <a:pt x="1162" y="43"/>
                    <a:pt x="1162" y="43"/>
                    <a:pt x="1162" y="42"/>
                  </a:cubicBezTo>
                  <a:cubicBezTo>
                    <a:pt x="1162" y="38"/>
                    <a:pt x="1162" y="38"/>
                    <a:pt x="1162" y="38"/>
                  </a:cubicBezTo>
                  <a:cubicBezTo>
                    <a:pt x="1167" y="38"/>
                    <a:pt x="1175" y="38"/>
                    <a:pt x="1181" y="38"/>
                  </a:cubicBezTo>
                  <a:cubicBezTo>
                    <a:pt x="1186" y="38"/>
                    <a:pt x="1189" y="38"/>
                    <a:pt x="1194" y="38"/>
                  </a:cubicBezTo>
                  <a:cubicBezTo>
                    <a:pt x="1194" y="42"/>
                    <a:pt x="1194" y="42"/>
                    <a:pt x="1194" y="42"/>
                  </a:cubicBezTo>
                  <a:cubicBezTo>
                    <a:pt x="1194" y="43"/>
                    <a:pt x="1194" y="43"/>
                    <a:pt x="1193" y="43"/>
                  </a:cubicBezTo>
                  <a:cubicBezTo>
                    <a:pt x="1185" y="44"/>
                    <a:pt x="1185" y="46"/>
                    <a:pt x="1185" y="71"/>
                  </a:cubicBezTo>
                  <a:cubicBezTo>
                    <a:pt x="1185" y="88"/>
                    <a:pt x="1185" y="88"/>
                    <a:pt x="1185" y="88"/>
                  </a:cubicBezTo>
                  <a:cubicBezTo>
                    <a:pt x="1185" y="109"/>
                    <a:pt x="1175" y="119"/>
                    <a:pt x="1155" y="119"/>
                  </a:cubicBezTo>
                  <a:close/>
                  <a:moveTo>
                    <a:pt x="1243" y="117"/>
                  </a:moveTo>
                  <a:cubicBezTo>
                    <a:pt x="1216" y="117"/>
                    <a:pt x="1216" y="117"/>
                    <a:pt x="1216" y="117"/>
                  </a:cubicBezTo>
                  <a:cubicBezTo>
                    <a:pt x="1211" y="117"/>
                    <a:pt x="1205" y="117"/>
                    <a:pt x="1199" y="117"/>
                  </a:cubicBezTo>
                  <a:cubicBezTo>
                    <a:pt x="1199" y="113"/>
                    <a:pt x="1199" y="113"/>
                    <a:pt x="1199" y="113"/>
                  </a:cubicBezTo>
                  <a:cubicBezTo>
                    <a:pt x="1199" y="112"/>
                    <a:pt x="1199" y="112"/>
                    <a:pt x="1200" y="112"/>
                  </a:cubicBezTo>
                  <a:cubicBezTo>
                    <a:pt x="1210" y="111"/>
                    <a:pt x="1210" y="110"/>
                    <a:pt x="1210" y="96"/>
                  </a:cubicBezTo>
                  <a:cubicBezTo>
                    <a:pt x="1210" y="59"/>
                    <a:pt x="1210" y="59"/>
                    <a:pt x="1210" y="59"/>
                  </a:cubicBezTo>
                  <a:cubicBezTo>
                    <a:pt x="1210" y="45"/>
                    <a:pt x="1210" y="44"/>
                    <a:pt x="1200" y="43"/>
                  </a:cubicBezTo>
                  <a:cubicBezTo>
                    <a:pt x="1199" y="43"/>
                    <a:pt x="1199" y="43"/>
                    <a:pt x="1199" y="42"/>
                  </a:cubicBezTo>
                  <a:cubicBezTo>
                    <a:pt x="1199" y="38"/>
                    <a:pt x="1199" y="38"/>
                    <a:pt x="1199" y="38"/>
                  </a:cubicBezTo>
                  <a:cubicBezTo>
                    <a:pt x="1205" y="38"/>
                    <a:pt x="1212" y="38"/>
                    <a:pt x="1217" y="38"/>
                  </a:cubicBezTo>
                  <a:cubicBezTo>
                    <a:pt x="1223" y="38"/>
                    <a:pt x="1232" y="38"/>
                    <a:pt x="1237" y="38"/>
                  </a:cubicBezTo>
                  <a:cubicBezTo>
                    <a:pt x="1237" y="42"/>
                    <a:pt x="1237" y="42"/>
                    <a:pt x="1237" y="42"/>
                  </a:cubicBezTo>
                  <a:cubicBezTo>
                    <a:pt x="1237" y="43"/>
                    <a:pt x="1237" y="43"/>
                    <a:pt x="1236" y="43"/>
                  </a:cubicBezTo>
                  <a:cubicBezTo>
                    <a:pt x="1224" y="44"/>
                    <a:pt x="1224" y="45"/>
                    <a:pt x="1224" y="59"/>
                  </a:cubicBezTo>
                  <a:cubicBezTo>
                    <a:pt x="1224" y="95"/>
                    <a:pt x="1224" y="95"/>
                    <a:pt x="1224" y="95"/>
                  </a:cubicBezTo>
                  <a:cubicBezTo>
                    <a:pt x="1224" y="109"/>
                    <a:pt x="1224" y="110"/>
                    <a:pt x="1235" y="110"/>
                  </a:cubicBezTo>
                  <a:cubicBezTo>
                    <a:pt x="1240" y="110"/>
                    <a:pt x="1240" y="110"/>
                    <a:pt x="1240" y="110"/>
                  </a:cubicBezTo>
                  <a:cubicBezTo>
                    <a:pt x="1250" y="110"/>
                    <a:pt x="1255" y="107"/>
                    <a:pt x="1257" y="92"/>
                  </a:cubicBezTo>
                  <a:cubicBezTo>
                    <a:pt x="1257" y="92"/>
                    <a:pt x="1257" y="91"/>
                    <a:pt x="1258" y="91"/>
                  </a:cubicBezTo>
                  <a:cubicBezTo>
                    <a:pt x="1261" y="91"/>
                    <a:pt x="1261" y="91"/>
                    <a:pt x="1261" y="91"/>
                  </a:cubicBezTo>
                  <a:cubicBezTo>
                    <a:pt x="1261" y="97"/>
                    <a:pt x="1261" y="111"/>
                    <a:pt x="1261" y="117"/>
                  </a:cubicBezTo>
                  <a:cubicBezTo>
                    <a:pt x="1256" y="117"/>
                    <a:pt x="1253" y="117"/>
                    <a:pt x="1243" y="117"/>
                  </a:cubicBezTo>
                  <a:close/>
                  <a:moveTo>
                    <a:pt x="1291" y="117"/>
                  </a:moveTo>
                  <a:cubicBezTo>
                    <a:pt x="1285" y="117"/>
                    <a:pt x="1278" y="117"/>
                    <a:pt x="1273" y="117"/>
                  </a:cubicBezTo>
                  <a:cubicBezTo>
                    <a:pt x="1273" y="113"/>
                    <a:pt x="1273" y="113"/>
                    <a:pt x="1273" y="113"/>
                  </a:cubicBezTo>
                  <a:cubicBezTo>
                    <a:pt x="1273" y="112"/>
                    <a:pt x="1273" y="112"/>
                    <a:pt x="1274" y="112"/>
                  </a:cubicBezTo>
                  <a:cubicBezTo>
                    <a:pt x="1284" y="111"/>
                    <a:pt x="1284" y="110"/>
                    <a:pt x="1284" y="96"/>
                  </a:cubicBezTo>
                  <a:cubicBezTo>
                    <a:pt x="1284" y="46"/>
                    <a:pt x="1284" y="46"/>
                    <a:pt x="1284" y="46"/>
                  </a:cubicBezTo>
                  <a:cubicBezTo>
                    <a:pt x="1284" y="45"/>
                    <a:pt x="1284" y="44"/>
                    <a:pt x="1283" y="44"/>
                  </a:cubicBezTo>
                  <a:cubicBezTo>
                    <a:pt x="1276" y="44"/>
                    <a:pt x="1276" y="44"/>
                    <a:pt x="1276" y="44"/>
                  </a:cubicBezTo>
                  <a:cubicBezTo>
                    <a:pt x="1266" y="44"/>
                    <a:pt x="1261" y="46"/>
                    <a:pt x="1260" y="61"/>
                  </a:cubicBezTo>
                  <a:cubicBezTo>
                    <a:pt x="1260" y="61"/>
                    <a:pt x="1259" y="61"/>
                    <a:pt x="1259" y="61"/>
                  </a:cubicBezTo>
                  <a:cubicBezTo>
                    <a:pt x="1255" y="61"/>
                    <a:pt x="1255" y="61"/>
                    <a:pt x="1255" y="61"/>
                  </a:cubicBezTo>
                  <a:cubicBezTo>
                    <a:pt x="1255" y="56"/>
                    <a:pt x="1255" y="44"/>
                    <a:pt x="1255" y="38"/>
                  </a:cubicBezTo>
                  <a:cubicBezTo>
                    <a:pt x="1260" y="38"/>
                    <a:pt x="1266" y="38"/>
                    <a:pt x="1276" y="38"/>
                  </a:cubicBezTo>
                  <a:cubicBezTo>
                    <a:pt x="1306" y="38"/>
                    <a:pt x="1306" y="38"/>
                    <a:pt x="1306" y="38"/>
                  </a:cubicBezTo>
                  <a:cubicBezTo>
                    <a:pt x="1316" y="38"/>
                    <a:pt x="1322" y="38"/>
                    <a:pt x="1327" y="38"/>
                  </a:cubicBezTo>
                  <a:cubicBezTo>
                    <a:pt x="1327" y="44"/>
                    <a:pt x="1327" y="56"/>
                    <a:pt x="1327" y="61"/>
                  </a:cubicBezTo>
                  <a:cubicBezTo>
                    <a:pt x="1323" y="61"/>
                    <a:pt x="1323" y="61"/>
                    <a:pt x="1323" y="61"/>
                  </a:cubicBezTo>
                  <a:cubicBezTo>
                    <a:pt x="1323" y="61"/>
                    <a:pt x="1322" y="61"/>
                    <a:pt x="1322" y="61"/>
                  </a:cubicBezTo>
                  <a:cubicBezTo>
                    <a:pt x="1320" y="46"/>
                    <a:pt x="1315" y="44"/>
                    <a:pt x="1306" y="44"/>
                  </a:cubicBezTo>
                  <a:cubicBezTo>
                    <a:pt x="1299" y="44"/>
                    <a:pt x="1299" y="44"/>
                    <a:pt x="1299" y="44"/>
                  </a:cubicBezTo>
                  <a:cubicBezTo>
                    <a:pt x="1298" y="44"/>
                    <a:pt x="1298" y="45"/>
                    <a:pt x="1298" y="46"/>
                  </a:cubicBezTo>
                  <a:cubicBezTo>
                    <a:pt x="1298" y="96"/>
                    <a:pt x="1298" y="96"/>
                    <a:pt x="1298" y="96"/>
                  </a:cubicBezTo>
                  <a:cubicBezTo>
                    <a:pt x="1298" y="110"/>
                    <a:pt x="1298" y="111"/>
                    <a:pt x="1308" y="112"/>
                  </a:cubicBezTo>
                  <a:cubicBezTo>
                    <a:pt x="1309" y="112"/>
                    <a:pt x="1309" y="112"/>
                    <a:pt x="1309" y="113"/>
                  </a:cubicBezTo>
                  <a:cubicBezTo>
                    <a:pt x="1309" y="117"/>
                    <a:pt x="1309" y="117"/>
                    <a:pt x="1309" y="117"/>
                  </a:cubicBezTo>
                  <a:cubicBezTo>
                    <a:pt x="1303" y="117"/>
                    <a:pt x="1296" y="117"/>
                    <a:pt x="1291" y="117"/>
                  </a:cubicBezTo>
                  <a:close/>
                  <a:moveTo>
                    <a:pt x="1349" y="117"/>
                  </a:moveTo>
                  <a:cubicBezTo>
                    <a:pt x="1343" y="117"/>
                    <a:pt x="1336" y="117"/>
                    <a:pt x="1331" y="117"/>
                  </a:cubicBezTo>
                  <a:cubicBezTo>
                    <a:pt x="1331" y="113"/>
                    <a:pt x="1331" y="113"/>
                    <a:pt x="1331" y="113"/>
                  </a:cubicBezTo>
                  <a:cubicBezTo>
                    <a:pt x="1331" y="112"/>
                    <a:pt x="1331" y="112"/>
                    <a:pt x="1332" y="112"/>
                  </a:cubicBezTo>
                  <a:cubicBezTo>
                    <a:pt x="1342" y="111"/>
                    <a:pt x="1342" y="110"/>
                    <a:pt x="1342" y="96"/>
                  </a:cubicBezTo>
                  <a:cubicBezTo>
                    <a:pt x="1342" y="59"/>
                    <a:pt x="1342" y="59"/>
                    <a:pt x="1342" y="59"/>
                  </a:cubicBezTo>
                  <a:cubicBezTo>
                    <a:pt x="1342" y="45"/>
                    <a:pt x="1342" y="44"/>
                    <a:pt x="1332" y="43"/>
                  </a:cubicBezTo>
                  <a:cubicBezTo>
                    <a:pt x="1331" y="43"/>
                    <a:pt x="1331" y="43"/>
                    <a:pt x="1331" y="42"/>
                  </a:cubicBezTo>
                  <a:cubicBezTo>
                    <a:pt x="1331" y="38"/>
                    <a:pt x="1331" y="38"/>
                    <a:pt x="1331" y="38"/>
                  </a:cubicBezTo>
                  <a:cubicBezTo>
                    <a:pt x="1336" y="38"/>
                    <a:pt x="1343" y="38"/>
                    <a:pt x="1349" y="38"/>
                  </a:cubicBezTo>
                  <a:cubicBezTo>
                    <a:pt x="1355" y="38"/>
                    <a:pt x="1361" y="38"/>
                    <a:pt x="1367" y="38"/>
                  </a:cubicBezTo>
                  <a:cubicBezTo>
                    <a:pt x="1367" y="42"/>
                    <a:pt x="1367" y="42"/>
                    <a:pt x="1367" y="42"/>
                  </a:cubicBezTo>
                  <a:cubicBezTo>
                    <a:pt x="1367" y="43"/>
                    <a:pt x="1367" y="43"/>
                    <a:pt x="1366" y="43"/>
                  </a:cubicBezTo>
                  <a:cubicBezTo>
                    <a:pt x="1356" y="44"/>
                    <a:pt x="1356" y="45"/>
                    <a:pt x="1356" y="59"/>
                  </a:cubicBezTo>
                  <a:cubicBezTo>
                    <a:pt x="1356" y="96"/>
                    <a:pt x="1356" y="96"/>
                    <a:pt x="1356" y="96"/>
                  </a:cubicBezTo>
                  <a:cubicBezTo>
                    <a:pt x="1356" y="110"/>
                    <a:pt x="1356" y="111"/>
                    <a:pt x="1366" y="112"/>
                  </a:cubicBezTo>
                  <a:cubicBezTo>
                    <a:pt x="1367" y="112"/>
                    <a:pt x="1367" y="112"/>
                    <a:pt x="1367" y="113"/>
                  </a:cubicBezTo>
                  <a:cubicBezTo>
                    <a:pt x="1367" y="117"/>
                    <a:pt x="1367" y="117"/>
                    <a:pt x="1367" y="117"/>
                  </a:cubicBezTo>
                  <a:cubicBezTo>
                    <a:pt x="1361" y="117"/>
                    <a:pt x="1354" y="117"/>
                    <a:pt x="1349" y="117"/>
                  </a:cubicBezTo>
                  <a:close/>
                  <a:moveTo>
                    <a:pt x="1438" y="119"/>
                  </a:moveTo>
                  <a:cubicBezTo>
                    <a:pt x="1436" y="115"/>
                    <a:pt x="1433" y="111"/>
                    <a:pt x="1430" y="107"/>
                  </a:cubicBezTo>
                  <a:cubicBezTo>
                    <a:pt x="1392" y="53"/>
                    <a:pt x="1392" y="53"/>
                    <a:pt x="1392" y="53"/>
                  </a:cubicBezTo>
                  <a:cubicBezTo>
                    <a:pt x="1392" y="53"/>
                    <a:pt x="1392" y="53"/>
                    <a:pt x="1392" y="53"/>
                  </a:cubicBezTo>
                  <a:cubicBezTo>
                    <a:pt x="1392" y="84"/>
                    <a:pt x="1392" y="84"/>
                    <a:pt x="1392" y="84"/>
                  </a:cubicBezTo>
                  <a:cubicBezTo>
                    <a:pt x="1392" y="108"/>
                    <a:pt x="1392" y="111"/>
                    <a:pt x="1406" y="112"/>
                  </a:cubicBezTo>
                  <a:cubicBezTo>
                    <a:pt x="1406" y="112"/>
                    <a:pt x="1407" y="112"/>
                    <a:pt x="1407" y="113"/>
                  </a:cubicBezTo>
                  <a:cubicBezTo>
                    <a:pt x="1407" y="117"/>
                    <a:pt x="1407" y="117"/>
                    <a:pt x="1407" y="117"/>
                  </a:cubicBezTo>
                  <a:cubicBezTo>
                    <a:pt x="1401" y="117"/>
                    <a:pt x="1393" y="117"/>
                    <a:pt x="1387" y="117"/>
                  </a:cubicBezTo>
                  <a:cubicBezTo>
                    <a:pt x="1382" y="117"/>
                    <a:pt x="1378" y="117"/>
                    <a:pt x="1373" y="117"/>
                  </a:cubicBezTo>
                  <a:cubicBezTo>
                    <a:pt x="1373" y="113"/>
                    <a:pt x="1373" y="113"/>
                    <a:pt x="1373" y="113"/>
                  </a:cubicBezTo>
                  <a:cubicBezTo>
                    <a:pt x="1373" y="112"/>
                    <a:pt x="1373" y="112"/>
                    <a:pt x="1374" y="112"/>
                  </a:cubicBezTo>
                  <a:cubicBezTo>
                    <a:pt x="1383" y="111"/>
                    <a:pt x="1383" y="108"/>
                    <a:pt x="1383" y="84"/>
                  </a:cubicBezTo>
                  <a:cubicBezTo>
                    <a:pt x="1383" y="59"/>
                    <a:pt x="1383" y="59"/>
                    <a:pt x="1383" y="59"/>
                  </a:cubicBezTo>
                  <a:cubicBezTo>
                    <a:pt x="1383" y="45"/>
                    <a:pt x="1383" y="44"/>
                    <a:pt x="1374" y="43"/>
                  </a:cubicBezTo>
                  <a:cubicBezTo>
                    <a:pt x="1373" y="43"/>
                    <a:pt x="1373" y="43"/>
                    <a:pt x="1373" y="42"/>
                  </a:cubicBezTo>
                  <a:cubicBezTo>
                    <a:pt x="1373" y="38"/>
                    <a:pt x="1373" y="38"/>
                    <a:pt x="1373" y="38"/>
                  </a:cubicBezTo>
                  <a:cubicBezTo>
                    <a:pt x="1377" y="38"/>
                    <a:pt x="1384" y="38"/>
                    <a:pt x="1386" y="38"/>
                  </a:cubicBezTo>
                  <a:cubicBezTo>
                    <a:pt x="1391" y="38"/>
                    <a:pt x="1396" y="38"/>
                    <a:pt x="1399" y="38"/>
                  </a:cubicBezTo>
                  <a:cubicBezTo>
                    <a:pt x="1439" y="96"/>
                    <a:pt x="1439" y="96"/>
                    <a:pt x="1439" y="96"/>
                  </a:cubicBezTo>
                  <a:cubicBezTo>
                    <a:pt x="1439" y="71"/>
                    <a:pt x="1439" y="71"/>
                    <a:pt x="1439" y="71"/>
                  </a:cubicBezTo>
                  <a:cubicBezTo>
                    <a:pt x="1439" y="47"/>
                    <a:pt x="1439" y="44"/>
                    <a:pt x="1425" y="43"/>
                  </a:cubicBezTo>
                  <a:cubicBezTo>
                    <a:pt x="1424" y="43"/>
                    <a:pt x="1424" y="43"/>
                    <a:pt x="1424" y="42"/>
                  </a:cubicBezTo>
                  <a:cubicBezTo>
                    <a:pt x="1424" y="38"/>
                    <a:pt x="1424" y="38"/>
                    <a:pt x="1424" y="38"/>
                  </a:cubicBezTo>
                  <a:cubicBezTo>
                    <a:pt x="1430" y="38"/>
                    <a:pt x="1438" y="38"/>
                    <a:pt x="1443" y="38"/>
                  </a:cubicBezTo>
                  <a:cubicBezTo>
                    <a:pt x="1449" y="38"/>
                    <a:pt x="1453" y="38"/>
                    <a:pt x="1458" y="38"/>
                  </a:cubicBezTo>
                  <a:cubicBezTo>
                    <a:pt x="1458" y="42"/>
                    <a:pt x="1458" y="42"/>
                    <a:pt x="1458" y="42"/>
                  </a:cubicBezTo>
                  <a:cubicBezTo>
                    <a:pt x="1458" y="43"/>
                    <a:pt x="1458" y="43"/>
                    <a:pt x="1458" y="43"/>
                  </a:cubicBezTo>
                  <a:cubicBezTo>
                    <a:pt x="1448" y="44"/>
                    <a:pt x="1447" y="47"/>
                    <a:pt x="1447" y="71"/>
                  </a:cubicBezTo>
                  <a:cubicBezTo>
                    <a:pt x="1447" y="119"/>
                    <a:pt x="1447" y="119"/>
                    <a:pt x="1447" y="119"/>
                  </a:cubicBezTo>
                  <a:lnTo>
                    <a:pt x="1438" y="119"/>
                  </a:lnTo>
                  <a:close/>
                  <a:moveTo>
                    <a:pt x="1537" y="86"/>
                  </a:moveTo>
                  <a:cubicBezTo>
                    <a:pt x="1537" y="87"/>
                    <a:pt x="1537" y="87"/>
                    <a:pt x="1536" y="87"/>
                  </a:cubicBezTo>
                  <a:cubicBezTo>
                    <a:pt x="1529" y="89"/>
                    <a:pt x="1529" y="89"/>
                    <a:pt x="1529" y="99"/>
                  </a:cubicBezTo>
                  <a:cubicBezTo>
                    <a:pt x="1529" y="102"/>
                    <a:pt x="1529" y="102"/>
                    <a:pt x="1529" y="102"/>
                  </a:cubicBezTo>
                  <a:cubicBezTo>
                    <a:pt x="1529" y="104"/>
                    <a:pt x="1529" y="108"/>
                    <a:pt x="1529" y="109"/>
                  </a:cubicBezTo>
                  <a:cubicBezTo>
                    <a:pt x="1529" y="110"/>
                    <a:pt x="1529" y="110"/>
                    <a:pt x="1528" y="110"/>
                  </a:cubicBezTo>
                  <a:cubicBezTo>
                    <a:pt x="1521" y="110"/>
                    <a:pt x="1517" y="119"/>
                    <a:pt x="1499" y="119"/>
                  </a:cubicBezTo>
                  <a:cubicBezTo>
                    <a:pt x="1478" y="119"/>
                    <a:pt x="1462" y="105"/>
                    <a:pt x="1462" y="77"/>
                  </a:cubicBezTo>
                  <a:cubicBezTo>
                    <a:pt x="1462" y="55"/>
                    <a:pt x="1474" y="36"/>
                    <a:pt x="1499" y="36"/>
                  </a:cubicBezTo>
                  <a:cubicBezTo>
                    <a:pt x="1507" y="36"/>
                    <a:pt x="1513" y="38"/>
                    <a:pt x="1517" y="40"/>
                  </a:cubicBezTo>
                  <a:cubicBezTo>
                    <a:pt x="1520" y="38"/>
                    <a:pt x="1520" y="38"/>
                    <a:pt x="1520" y="38"/>
                  </a:cubicBezTo>
                  <a:cubicBezTo>
                    <a:pt x="1520" y="37"/>
                    <a:pt x="1520" y="37"/>
                    <a:pt x="1521" y="37"/>
                  </a:cubicBezTo>
                  <a:cubicBezTo>
                    <a:pt x="1524" y="37"/>
                    <a:pt x="1524" y="37"/>
                    <a:pt x="1524" y="37"/>
                  </a:cubicBezTo>
                  <a:cubicBezTo>
                    <a:pt x="1524" y="42"/>
                    <a:pt x="1524" y="55"/>
                    <a:pt x="1524" y="61"/>
                  </a:cubicBezTo>
                  <a:cubicBezTo>
                    <a:pt x="1520" y="61"/>
                    <a:pt x="1520" y="61"/>
                    <a:pt x="1520" y="61"/>
                  </a:cubicBezTo>
                  <a:cubicBezTo>
                    <a:pt x="1520" y="61"/>
                    <a:pt x="1519" y="61"/>
                    <a:pt x="1519" y="60"/>
                  </a:cubicBezTo>
                  <a:cubicBezTo>
                    <a:pt x="1516" y="48"/>
                    <a:pt x="1511" y="43"/>
                    <a:pt x="1500" y="43"/>
                  </a:cubicBezTo>
                  <a:cubicBezTo>
                    <a:pt x="1481" y="43"/>
                    <a:pt x="1477" y="61"/>
                    <a:pt x="1477" y="77"/>
                  </a:cubicBezTo>
                  <a:cubicBezTo>
                    <a:pt x="1477" y="94"/>
                    <a:pt x="1482" y="113"/>
                    <a:pt x="1501" y="113"/>
                  </a:cubicBezTo>
                  <a:cubicBezTo>
                    <a:pt x="1510" y="113"/>
                    <a:pt x="1515" y="108"/>
                    <a:pt x="1515" y="100"/>
                  </a:cubicBezTo>
                  <a:cubicBezTo>
                    <a:pt x="1515" y="98"/>
                    <a:pt x="1515" y="98"/>
                    <a:pt x="1515" y="98"/>
                  </a:cubicBezTo>
                  <a:cubicBezTo>
                    <a:pt x="1515" y="89"/>
                    <a:pt x="1515" y="89"/>
                    <a:pt x="1503" y="87"/>
                  </a:cubicBezTo>
                  <a:cubicBezTo>
                    <a:pt x="1502" y="87"/>
                    <a:pt x="1502" y="87"/>
                    <a:pt x="1502" y="86"/>
                  </a:cubicBezTo>
                  <a:cubicBezTo>
                    <a:pt x="1502" y="82"/>
                    <a:pt x="1502" y="82"/>
                    <a:pt x="1502" y="82"/>
                  </a:cubicBezTo>
                  <a:cubicBezTo>
                    <a:pt x="1508" y="83"/>
                    <a:pt x="1516" y="83"/>
                    <a:pt x="1521" y="83"/>
                  </a:cubicBezTo>
                  <a:cubicBezTo>
                    <a:pt x="1527" y="83"/>
                    <a:pt x="1531" y="83"/>
                    <a:pt x="1537" y="82"/>
                  </a:cubicBezTo>
                  <a:lnTo>
                    <a:pt x="1537" y="86"/>
                  </a:lnTo>
                  <a:close/>
                  <a:moveTo>
                    <a:pt x="1670" y="71"/>
                  </a:moveTo>
                  <a:cubicBezTo>
                    <a:pt x="1670" y="72"/>
                    <a:pt x="1670" y="73"/>
                    <a:pt x="1669" y="73"/>
                  </a:cubicBezTo>
                  <a:cubicBezTo>
                    <a:pt x="1658" y="75"/>
                    <a:pt x="1658" y="75"/>
                    <a:pt x="1658" y="90"/>
                  </a:cubicBezTo>
                  <a:cubicBezTo>
                    <a:pt x="1658" y="94"/>
                    <a:pt x="1658" y="94"/>
                    <a:pt x="1658" y="94"/>
                  </a:cubicBezTo>
                  <a:cubicBezTo>
                    <a:pt x="1658" y="97"/>
                    <a:pt x="1659" y="102"/>
                    <a:pt x="1659" y="104"/>
                  </a:cubicBezTo>
                  <a:cubicBezTo>
                    <a:pt x="1659" y="105"/>
                    <a:pt x="1658" y="105"/>
                    <a:pt x="1658" y="105"/>
                  </a:cubicBezTo>
                  <a:cubicBezTo>
                    <a:pt x="1647" y="105"/>
                    <a:pt x="1643" y="119"/>
                    <a:pt x="1619" y="119"/>
                  </a:cubicBezTo>
                  <a:cubicBezTo>
                    <a:pt x="1589" y="119"/>
                    <a:pt x="1566" y="99"/>
                    <a:pt x="1566" y="59"/>
                  </a:cubicBezTo>
                  <a:cubicBezTo>
                    <a:pt x="1566" y="26"/>
                    <a:pt x="1583" y="0"/>
                    <a:pt x="1618" y="0"/>
                  </a:cubicBezTo>
                  <a:cubicBezTo>
                    <a:pt x="1629" y="0"/>
                    <a:pt x="1639" y="2"/>
                    <a:pt x="1645" y="6"/>
                  </a:cubicBezTo>
                  <a:cubicBezTo>
                    <a:pt x="1645" y="6"/>
                    <a:pt x="1645" y="6"/>
                    <a:pt x="1645" y="6"/>
                  </a:cubicBezTo>
                  <a:cubicBezTo>
                    <a:pt x="1648" y="2"/>
                    <a:pt x="1648" y="2"/>
                    <a:pt x="1648" y="2"/>
                  </a:cubicBezTo>
                  <a:cubicBezTo>
                    <a:pt x="1648" y="1"/>
                    <a:pt x="1649" y="1"/>
                    <a:pt x="1650" y="1"/>
                  </a:cubicBezTo>
                  <a:cubicBezTo>
                    <a:pt x="1652" y="1"/>
                    <a:pt x="1652" y="1"/>
                    <a:pt x="1652" y="1"/>
                  </a:cubicBezTo>
                  <a:cubicBezTo>
                    <a:pt x="1652" y="9"/>
                    <a:pt x="1653" y="26"/>
                    <a:pt x="1653" y="33"/>
                  </a:cubicBezTo>
                  <a:cubicBezTo>
                    <a:pt x="1648" y="33"/>
                    <a:pt x="1648" y="33"/>
                    <a:pt x="1648" y="33"/>
                  </a:cubicBezTo>
                  <a:cubicBezTo>
                    <a:pt x="1648" y="33"/>
                    <a:pt x="1647" y="33"/>
                    <a:pt x="1647" y="32"/>
                  </a:cubicBezTo>
                  <a:cubicBezTo>
                    <a:pt x="1643" y="16"/>
                    <a:pt x="1634" y="7"/>
                    <a:pt x="1618" y="7"/>
                  </a:cubicBezTo>
                  <a:cubicBezTo>
                    <a:pt x="1590" y="7"/>
                    <a:pt x="1585" y="34"/>
                    <a:pt x="1585" y="59"/>
                  </a:cubicBezTo>
                  <a:cubicBezTo>
                    <a:pt x="1585" y="85"/>
                    <a:pt x="1592" y="112"/>
                    <a:pt x="1620" y="112"/>
                  </a:cubicBezTo>
                  <a:cubicBezTo>
                    <a:pt x="1634" y="112"/>
                    <a:pt x="1643" y="105"/>
                    <a:pt x="1643" y="94"/>
                  </a:cubicBezTo>
                  <a:cubicBezTo>
                    <a:pt x="1643" y="89"/>
                    <a:pt x="1643" y="89"/>
                    <a:pt x="1643" y="89"/>
                  </a:cubicBezTo>
                  <a:cubicBezTo>
                    <a:pt x="1643" y="75"/>
                    <a:pt x="1643" y="75"/>
                    <a:pt x="1627" y="73"/>
                  </a:cubicBezTo>
                  <a:cubicBezTo>
                    <a:pt x="1626" y="73"/>
                    <a:pt x="1625" y="72"/>
                    <a:pt x="1625" y="71"/>
                  </a:cubicBezTo>
                  <a:cubicBezTo>
                    <a:pt x="1625" y="66"/>
                    <a:pt x="1625" y="66"/>
                    <a:pt x="1625" y="66"/>
                  </a:cubicBezTo>
                  <a:cubicBezTo>
                    <a:pt x="1633" y="66"/>
                    <a:pt x="1640" y="67"/>
                    <a:pt x="1649" y="67"/>
                  </a:cubicBezTo>
                  <a:cubicBezTo>
                    <a:pt x="1657" y="67"/>
                    <a:pt x="1662" y="66"/>
                    <a:pt x="1670" y="66"/>
                  </a:cubicBezTo>
                  <a:lnTo>
                    <a:pt x="1670" y="71"/>
                  </a:lnTo>
                  <a:close/>
                  <a:moveTo>
                    <a:pt x="1716" y="76"/>
                  </a:moveTo>
                  <a:cubicBezTo>
                    <a:pt x="1716" y="76"/>
                    <a:pt x="1716" y="76"/>
                    <a:pt x="1716" y="76"/>
                  </a:cubicBezTo>
                  <a:cubicBezTo>
                    <a:pt x="1740" y="80"/>
                    <a:pt x="1733" y="110"/>
                    <a:pt x="1742" y="110"/>
                  </a:cubicBezTo>
                  <a:cubicBezTo>
                    <a:pt x="1745" y="110"/>
                    <a:pt x="1746" y="109"/>
                    <a:pt x="1748" y="107"/>
                  </a:cubicBezTo>
                  <a:cubicBezTo>
                    <a:pt x="1750" y="110"/>
                    <a:pt x="1750" y="110"/>
                    <a:pt x="1750" y="110"/>
                  </a:cubicBezTo>
                  <a:cubicBezTo>
                    <a:pt x="1750" y="110"/>
                    <a:pt x="1751" y="110"/>
                    <a:pt x="1751" y="111"/>
                  </a:cubicBezTo>
                  <a:cubicBezTo>
                    <a:pt x="1751" y="111"/>
                    <a:pt x="1750" y="111"/>
                    <a:pt x="1750" y="111"/>
                  </a:cubicBezTo>
                  <a:cubicBezTo>
                    <a:pt x="1747" y="116"/>
                    <a:pt x="1742" y="118"/>
                    <a:pt x="1737" y="118"/>
                  </a:cubicBezTo>
                  <a:cubicBezTo>
                    <a:pt x="1725" y="118"/>
                    <a:pt x="1723" y="108"/>
                    <a:pt x="1720" y="96"/>
                  </a:cubicBezTo>
                  <a:cubicBezTo>
                    <a:pt x="1718" y="85"/>
                    <a:pt x="1715" y="79"/>
                    <a:pt x="1705" y="79"/>
                  </a:cubicBezTo>
                  <a:cubicBezTo>
                    <a:pt x="1697" y="79"/>
                    <a:pt x="1697" y="79"/>
                    <a:pt x="1697" y="79"/>
                  </a:cubicBezTo>
                  <a:cubicBezTo>
                    <a:pt x="1697" y="96"/>
                    <a:pt x="1697" y="96"/>
                    <a:pt x="1697" y="96"/>
                  </a:cubicBezTo>
                  <a:cubicBezTo>
                    <a:pt x="1697" y="110"/>
                    <a:pt x="1697" y="111"/>
                    <a:pt x="1707" y="112"/>
                  </a:cubicBezTo>
                  <a:cubicBezTo>
                    <a:pt x="1708" y="112"/>
                    <a:pt x="1708" y="112"/>
                    <a:pt x="1708" y="113"/>
                  </a:cubicBezTo>
                  <a:cubicBezTo>
                    <a:pt x="1708" y="117"/>
                    <a:pt x="1708" y="117"/>
                    <a:pt x="1708" y="117"/>
                  </a:cubicBezTo>
                  <a:cubicBezTo>
                    <a:pt x="1702" y="117"/>
                    <a:pt x="1695" y="117"/>
                    <a:pt x="1690" y="117"/>
                  </a:cubicBezTo>
                  <a:cubicBezTo>
                    <a:pt x="1684" y="117"/>
                    <a:pt x="1678" y="117"/>
                    <a:pt x="1672" y="117"/>
                  </a:cubicBezTo>
                  <a:cubicBezTo>
                    <a:pt x="1672" y="113"/>
                    <a:pt x="1672" y="113"/>
                    <a:pt x="1672" y="113"/>
                  </a:cubicBezTo>
                  <a:cubicBezTo>
                    <a:pt x="1672" y="112"/>
                    <a:pt x="1672" y="112"/>
                    <a:pt x="1673" y="112"/>
                  </a:cubicBezTo>
                  <a:cubicBezTo>
                    <a:pt x="1683" y="111"/>
                    <a:pt x="1683" y="110"/>
                    <a:pt x="1683" y="96"/>
                  </a:cubicBezTo>
                  <a:cubicBezTo>
                    <a:pt x="1683" y="59"/>
                    <a:pt x="1683" y="59"/>
                    <a:pt x="1683" y="59"/>
                  </a:cubicBezTo>
                  <a:cubicBezTo>
                    <a:pt x="1683" y="45"/>
                    <a:pt x="1683" y="44"/>
                    <a:pt x="1673" y="43"/>
                  </a:cubicBezTo>
                  <a:cubicBezTo>
                    <a:pt x="1672" y="43"/>
                    <a:pt x="1672" y="43"/>
                    <a:pt x="1672" y="42"/>
                  </a:cubicBezTo>
                  <a:cubicBezTo>
                    <a:pt x="1672" y="38"/>
                    <a:pt x="1672" y="38"/>
                    <a:pt x="1672" y="38"/>
                  </a:cubicBezTo>
                  <a:cubicBezTo>
                    <a:pt x="1678" y="38"/>
                    <a:pt x="1684" y="38"/>
                    <a:pt x="1690" y="38"/>
                  </a:cubicBezTo>
                  <a:cubicBezTo>
                    <a:pt x="1695" y="38"/>
                    <a:pt x="1704" y="38"/>
                    <a:pt x="1708" y="38"/>
                  </a:cubicBezTo>
                  <a:cubicBezTo>
                    <a:pt x="1724" y="38"/>
                    <a:pt x="1738" y="43"/>
                    <a:pt x="1738" y="56"/>
                  </a:cubicBezTo>
                  <a:cubicBezTo>
                    <a:pt x="1738" y="65"/>
                    <a:pt x="1733" y="73"/>
                    <a:pt x="1716" y="76"/>
                  </a:cubicBezTo>
                  <a:close/>
                  <a:moveTo>
                    <a:pt x="1708" y="44"/>
                  </a:moveTo>
                  <a:cubicBezTo>
                    <a:pt x="1704" y="44"/>
                    <a:pt x="1697" y="44"/>
                    <a:pt x="1697" y="46"/>
                  </a:cubicBezTo>
                  <a:cubicBezTo>
                    <a:pt x="1697" y="73"/>
                    <a:pt x="1697" y="73"/>
                    <a:pt x="1697" y="73"/>
                  </a:cubicBezTo>
                  <a:cubicBezTo>
                    <a:pt x="1704" y="73"/>
                    <a:pt x="1704" y="73"/>
                    <a:pt x="1704" y="73"/>
                  </a:cubicBezTo>
                  <a:cubicBezTo>
                    <a:pt x="1716" y="73"/>
                    <a:pt x="1723" y="69"/>
                    <a:pt x="1723" y="58"/>
                  </a:cubicBezTo>
                  <a:cubicBezTo>
                    <a:pt x="1723" y="48"/>
                    <a:pt x="1716" y="44"/>
                    <a:pt x="1708" y="44"/>
                  </a:cubicBezTo>
                  <a:close/>
                  <a:moveTo>
                    <a:pt x="1789" y="119"/>
                  </a:moveTo>
                  <a:cubicBezTo>
                    <a:pt x="1767" y="119"/>
                    <a:pt x="1750" y="103"/>
                    <a:pt x="1750" y="79"/>
                  </a:cubicBezTo>
                  <a:cubicBezTo>
                    <a:pt x="1750" y="50"/>
                    <a:pt x="1768" y="36"/>
                    <a:pt x="1788" y="36"/>
                  </a:cubicBezTo>
                  <a:cubicBezTo>
                    <a:pt x="1810" y="36"/>
                    <a:pt x="1827" y="52"/>
                    <a:pt x="1827" y="76"/>
                  </a:cubicBezTo>
                  <a:cubicBezTo>
                    <a:pt x="1827" y="105"/>
                    <a:pt x="1809" y="119"/>
                    <a:pt x="1789" y="119"/>
                  </a:cubicBezTo>
                  <a:close/>
                  <a:moveTo>
                    <a:pt x="1787" y="43"/>
                  </a:moveTo>
                  <a:cubicBezTo>
                    <a:pt x="1773" y="43"/>
                    <a:pt x="1766" y="54"/>
                    <a:pt x="1766" y="78"/>
                  </a:cubicBezTo>
                  <a:cubicBezTo>
                    <a:pt x="1766" y="103"/>
                    <a:pt x="1775" y="112"/>
                    <a:pt x="1789" y="112"/>
                  </a:cubicBezTo>
                  <a:cubicBezTo>
                    <a:pt x="1804" y="112"/>
                    <a:pt x="1811" y="101"/>
                    <a:pt x="1811" y="77"/>
                  </a:cubicBezTo>
                  <a:cubicBezTo>
                    <a:pt x="1811" y="52"/>
                    <a:pt x="1802" y="43"/>
                    <a:pt x="1787" y="43"/>
                  </a:cubicBezTo>
                  <a:close/>
                  <a:moveTo>
                    <a:pt x="1874" y="119"/>
                  </a:moveTo>
                  <a:cubicBezTo>
                    <a:pt x="1851" y="119"/>
                    <a:pt x="1841" y="110"/>
                    <a:pt x="1841" y="89"/>
                  </a:cubicBezTo>
                  <a:cubicBezTo>
                    <a:pt x="1841" y="59"/>
                    <a:pt x="1841" y="59"/>
                    <a:pt x="1841" y="59"/>
                  </a:cubicBezTo>
                  <a:cubicBezTo>
                    <a:pt x="1841" y="45"/>
                    <a:pt x="1841" y="44"/>
                    <a:pt x="1831" y="43"/>
                  </a:cubicBezTo>
                  <a:cubicBezTo>
                    <a:pt x="1830" y="43"/>
                    <a:pt x="1830" y="43"/>
                    <a:pt x="1830" y="42"/>
                  </a:cubicBezTo>
                  <a:cubicBezTo>
                    <a:pt x="1830" y="38"/>
                    <a:pt x="1830" y="38"/>
                    <a:pt x="1830" y="38"/>
                  </a:cubicBezTo>
                  <a:cubicBezTo>
                    <a:pt x="1835" y="38"/>
                    <a:pt x="1842" y="38"/>
                    <a:pt x="1848" y="38"/>
                  </a:cubicBezTo>
                  <a:cubicBezTo>
                    <a:pt x="1853" y="38"/>
                    <a:pt x="1860" y="38"/>
                    <a:pt x="1866" y="38"/>
                  </a:cubicBezTo>
                  <a:cubicBezTo>
                    <a:pt x="1866" y="42"/>
                    <a:pt x="1866" y="42"/>
                    <a:pt x="1866" y="42"/>
                  </a:cubicBezTo>
                  <a:cubicBezTo>
                    <a:pt x="1866" y="43"/>
                    <a:pt x="1865" y="43"/>
                    <a:pt x="1865" y="43"/>
                  </a:cubicBezTo>
                  <a:cubicBezTo>
                    <a:pt x="1855" y="44"/>
                    <a:pt x="1855" y="45"/>
                    <a:pt x="1855" y="59"/>
                  </a:cubicBezTo>
                  <a:cubicBezTo>
                    <a:pt x="1855" y="91"/>
                    <a:pt x="1855" y="91"/>
                    <a:pt x="1855" y="91"/>
                  </a:cubicBezTo>
                  <a:cubicBezTo>
                    <a:pt x="1855" y="103"/>
                    <a:pt x="1861" y="110"/>
                    <a:pt x="1875" y="110"/>
                  </a:cubicBezTo>
                  <a:cubicBezTo>
                    <a:pt x="1889" y="110"/>
                    <a:pt x="1895" y="103"/>
                    <a:pt x="1895" y="90"/>
                  </a:cubicBezTo>
                  <a:cubicBezTo>
                    <a:pt x="1895" y="71"/>
                    <a:pt x="1895" y="71"/>
                    <a:pt x="1895" y="71"/>
                  </a:cubicBezTo>
                  <a:cubicBezTo>
                    <a:pt x="1895" y="46"/>
                    <a:pt x="1895" y="45"/>
                    <a:pt x="1881" y="43"/>
                  </a:cubicBezTo>
                  <a:cubicBezTo>
                    <a:pt x="1881" y="43"/>
                    <a:pt x="1881" y="43"/>
                    <a:pt x="1881" y="42"/>
                  </a:cubicBezTo>
                  <a:cubicBezTo>
                    <a:pt x="1881" y="38"/>
                    <a:pt x="1881" y="38"/>
                    <a:pt x="1881" y="38"/>
                  </a:cubicBezTo>
                  <a:cubicBezTo>
                    <a:pt x="1886" y="38"/>
                    <a:pt x="1893" y="38"/>
                    <a:pt x="1899" y="38"/>
                  </a:cubicBezTo>
                  <a:cubicBezTo>
                    <a:pt x="1905" y="38"/>
                    <a:pt x="1907" y="38"/>
                    <a:pt x="1913" y="38"/>
                  </a:cubicBezTo>
                  <a:cubicBezTo>
                    <a:pt x="1913" y="42"/>
                    <a:pt x="1913" y="42"/>
                    <a:pt x="1913" y="42"/>
                  </a:cubicBezTo>
                  <a:cubicBezTo>
                    <a:pt x="1913" y="43"/>
                    <a:pt x="1913" y="43"/>
                    <a:pt x="1912" y="43"/>
                  </a:cubicBezTo>
                  <a:cubicBezTo>
                    <a:pt x="1903" y="44"/>
                    <a:pt x="1903" y="46"/>
                    <a:pt x="1903" y="71"/>
                  </a:cubicBezTo>
                  <a:cubicBezTo>
                    <a:pt x="1903" y="88"/>
                    <a:pt x="1903" y="88"/>
                    <a:pt x="1903" y="88"/>
                  </a:cubicBezTo>
                  <a:cubicBezTo>
                    <a:pt x="1903" y="109"/>
                    <a:pt x="1893" y="119"/>
                    <a:pt x="1874" y="119"/>
                  </a:cubicBezTo>
                  <a:close/>
                  <a:moveTo>
                    <a:pt x="1949" y="84"/>
                  </a:moveTo>
                  <a:cubicBezTo>
                    <a:pt x="1943" y="84"/>
                    <a:pt x="1943" y="84"/>
                    <a:pt x="1943" y="84"/>
                  </a:cubicBezTo>
                  <a:cubicBezTo>
                    <a:pt x="1943" y="96"/>
                    <a:pt x="1943" y="96"/>
                    <a:pt x="1943" y="96"/>
                  </a:cubicBezTo>
                  <a:cubicBezTo>
                    <a:pt x="1943" y="110"/>
                    <a:pt x="1943" y="111"/>
                    <a:pt x="1955" y="112"/>
                  </a:cubicBezTo>
                  <a:cubicBezTo>
                    <a:pt x="1956" y="112"/>
                    <a:pt x="1956" y="112"/>
                    <a:pt x="1956" y="113"/>
                  </a:cubicBezTo>
                  <a:cubicBezTo>
                    <a:pt x="1956" y="117"/>
                    <a:pt x="1956" y="117"/>
                    <a:pt x="1956" y="117"/>
                  </a:cubicBezTo>
                  <a:cubicBezTo>
                    <a:pt x="1951" y="117"/>
                    <a:pt x="1941" y="117"/>
                    <a:pt x="1936" y="117"/>
                  </a:cubicBezTo>
                  <a:cubicBezTo>
                    <a:pt x="1930" y="117"/>
                    <a:pt x="1923" y="117"/>
                    <a:pt x="1918" y="117"/>
                  </a:cubicBezTo>
                  <a:cubicBezTo>
                    <a:pt x="1918" y="113"/>
                    <a:pt x="1918" y="113"/>
                    <a:pt x="1918" y="113"/>
                  </a:cubicBezTo>
                  <a:cubicBezTo>
                    <a:pt x="1918" y="112"/>
                    <a:pt x="1918" y="112"/>
                    <a:pt x="1919" y="112"/>
                  </a:cubicBezTo>
                  <a:cubicBezTo>
                    <a:pt x="1929" y="111"/>
                    <a:pt x="1929" y="110"/>
                    <a:pt x="1929" y="96"/>
                  </a:cubicBezTo>
                  <a:cubicBezTo>
                    <a:pt x="1929" y="59"/>
                    <a:pt x="1929" y="59"/>
                    <a:pt x="1929" y="59"/>
                  </a:cubicBezTo>
                  <a:cubicBezTo>
                    <a:pt x="1929" y="45"/>
                    <a:pt x="1929" y="44"/>
                    <a:pt x="1919" y="43"/>
                  </a:cubicBezTo>
                  <a:cubicBezTo>
                    <a:pt x="1918" y="43"/>
                    <a:pt x="1918" y="43"/>
                    <a:pt x="1918" y="42"/>
                  </a:cubicBezTo>
                  <a:cubicBezTo>
                    <a:pt x="1918" y="38"/>
                    <a:pt x="1918" y="38"/>
                    <a:pt x="1918" y="38"/>
                  </a:cubicBezTo>
                  <a:cubicBezTo>
                    <a:pt x="1923" y="38"/>
                    <a:pt x="1930" y="38"/>
                    <a:pt x="1936" y="38"/>
                  </a:cubicBezTo>
                  <a:cubicBezTo>
                    <a:pt x="1942" y="38"/>
                    <a:pt x="1947" y="38"/>
                    <a:pt x="1952" y="38"/>
                  </a:cubicBezTo>
                  <a:cubicBezTo>
                    <a:pt x="1965" y="38"/>
                    <a:pt x="1984" y="42"/>
                    <a:pt x="1984" y="59"/>
                  </a:cubicBezTo>
                  <a:cubicBezTo>
                    <a:pt x="1984" y="70"/>
                    <a:pt x="1978" y="84"/>
                    <a:pt x="1949" y="84"/>
                  </a:cubicBezTo>
                  <a:close/>
                  <a:moveTo>
                    <a:pt x="1952" y="44"/>
                  </a:moveTo>
                  <a:cubicBezTo>
                    <a:pt x="1949" y="44"/>
                    <a:pt x="1943" y="44"/>
                    <a:pt x="1943" y="46"/>
                  </a:cubicBezTo>
                  <a:cubicBezTo>
                    <a:pt x="1943" y="78"/>
                    <a:pt x="1943" y="78"/>
                    <a:pt x="1943" y="78"/>
                  </a:cubicBezTo>
                  <a:cubicBezTo>
                    <a:pt x="1949" y="78"/>
                    <a:pt x="1949" y="78"/>
                    <a:pt x="1949" y="78"/>
                  </a:cubicBezTo>
                  <a:cubicBezTo>
                    <a:pt x="1962" y="78"/>
                    <a:pt x="1969" y="73"/>
                    <a:pt x="1969" y="60"/>
                  </a:cubicBezTo>
                  <a:cubicBezTo>
                    <a:pt x="1969" y="49"/>
                    <a:pt x="1962" y="44"/>
                    <a:pt x="1952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350" dirty="0">
                <a:solidFill>
                  <a:srgbClr val="6E6F7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endParaRPr>
            </a:p>
          </p:txBody>
        </p:sp>
      </p:grpSp>
      <p:sp>
        <p:nvSpPr>
          <p:cNvPr id="15" name="TextBox 14"/>
          <p:cNvSpPr txBox="1"/>
          <p:nvPr/>
        </p:nvSpPr>
        <p:spPr bwMode="white">
          <a:xfrm>
            <a:off x="693735" y="5715178"/>
            <a:ext cx="630601" cy="170110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9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bcg.com</a:t>
            </a:r>
          </a:p>
        </p:txBody>
      </p:sp>
      <p:pic>
        <p:nvPicPr>
          <p:cNvPr id="9" name="NotMove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20" b="520"/>
          <a:stretch>
            <a:fillRect/>
          </a:stretch>
        </p:blipFill>
        <p:spPr>
          <a:xfrm>
            <a:off x="504307" y="692150"/>
            <a:ext cx="8639693" cy="4217475"/>
          </a:xfrm>
          <a:prstGeom prst="rect">
            <a:avLst/>
          </a:prstGeom>
        </p:spPr>
      </p:pic>
      <p:sp>
        <p:nvSpPr>
          <p:cNvPr id="22" name="tel_rus"/>
          <p:cNvSpPr txBox="1"/>
          <p:nvPr userDrawn="1"/>
        </p:nvSpPr>
        <p:spPr>
          <a:xfrm>
            <a:off x="1820728" y="6154970"/>
            <a:ext cx="101790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/>
                <a:cs typeface="Tahoma"/>
                <a:sym typeface="Tahoma" panose="020B0604030504040204" pitchFamily="34" charset="0"/>
              </a:rPr>
              <a:t>+7 (000) 000-00-00</a:t>
            </a:r>
          </a:p>
        </p:txBody>
      </p:sp>
      <p:sp>
        <p:nvSpPr>
          <p:cNvPr id="23" name="tel_rus"/>
          <p:cNvSpPr txBox="1"/>
          <p:nvPr userDrawn="1"/>
        </p:nvSpPr>
        <p:spPr>
          <a:xfrm>
            <a:off x="1820728" y="6411136"/>
            <a:ext cx="101790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/>
                <a:cs typeface="Tahoma"/>
                <a:sym typeface="Tahoma" panose="020B0604030504040204" pitchFamily="34" charset="0"/>
              </a:rPr>
              <a:t>+7 (000) 000-00-00</a:t>
            </a:r>
          </a:p>
        </p:txBody>
      </p:sp>
      <p:sp>
        <p:nvSpPr>
          <p:cNvPr id="18" name="tel_rus"/>
          <p:cNvSpPr txBox="1"/>
          <p:nvPr userDrawn="1"/>
        </p:nvSpPr>
        <p:spPr>
          <a:xfrm>
            <a:off x="1415912" y="6155620"/>
            <a:ext cx="269304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/>
                <a:cs typeface="Tahoma"/>
                <a:sym typeface="Tahoma" panose="020B0604030504040204" pitchFamily="34" charset="0"/>
              </a:rPr>
              <a:t>Tel: </a:t>
            </a:r>
          </a:p>
        </p:txBody>
      </p:sp>
      <p:sp>
        <p:nvSpPr>
          <p:cNvPr id="19" name="fax_rus"/>
          <p:cNvSpPr txBox="1"/>
          <p:nvPr userDrawn="1"/>
        </p:nvSpPr>
        <p:spPr>
          <a:xfrm>
            <a:off x="1415912" y="6410557"/>
            <a:ext cx="256480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/>
                <a:cs typeface="Tahoma"/>
                <a:sym typeface="Tahoma" panose="020B0604030504040204" pitchFamily="34" charset="0"/>
              </a:rPr>
              <a:t>Fax: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1415913" y="4961327"/>
            <a:ext cx="4519615" cy="323999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sz="1350" b="1" kern="0" dirty="0">
                <a:solidFill>
                  <a:srgbClr val="0077C8"/>
                </a:solidFill>
                <a:latin typeface="Tahoma" panose="020B0604030504040204" pitchFamily="34" charset="0"/>
                <a:ea typeface="Tahoma"/>
                <a:cs typeface="Tahoma"/>
                <a:sym typeface="Tahoma" panose="020B0604030504040204" pitchFamily="34" charset="0"/>
              </a:rPr>
              <a:t>Branch name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1415913" y="5427146"/>
            <a:ext cx="4519615" cy="576064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sz="1350" kern="0" dirty="0">
                <a:solidFill>
                  <a:srgbClr val="000000"/>
                </a:solidFill>
                <a:latin typeface="Tahoma" panose="020B0604030504040204" pitchFamily="34" charset="0"/>
                <a:ea typeface="Tahoma"/>
                <a:cs typeface="Tahoma"/>
                <a:sym typeface="Tahoma" panose="020B0604030504040204" pitchFamily="34" charset="0"/>
              </a:rPr>
              <a:t>Address</a:t>
            </a:r>
          </a:p>
        </p:txBody>
      </p:sp>
    </p:spTree>
    <p:extLst>
      <p:ext uri="{BB962C8B-B14F-4D97-AF65-F5344CB8AC3E}">
        <p14:creationId xmlns:p14="http://schemas.microsoft.com/office/powerpoint/2010/main" val="3813004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8301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450" y="-1"/>
            <a:ext cx="914535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35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US" sz="135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US" sz="135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US" sz="135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US" sz="135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US" sz="135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US" sz="135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US" sz="135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US" sz="135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US" sz="135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US" sz="135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US" sz="135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3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3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US" sz="135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US" sz="135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US" sz="135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US" sz="135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US" sz="135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eaLnBrk="1">
                <a:lnSpc>
                  <a:spcPct val="90000"/>
                </a:lnSpc>
                <a:spcAft>
                  <a:spcPts val="750"/>
                </a:spcAft>
              </a:pPr>
              <a:endParaRPr lang="en-US" sz="9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248316"/>
              <a:ext cx="9030914" cy="311624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rPr>
                <a:t>1. </a:t>
              </a:r>
              <a:r>
                <a:rPr kumimoji="0" lang="en-US" sz="75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rPr>
                <a:t>xxxx</a:t>
              </a: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rPr>
                <a:t>  2. </a:t>
              </a:r>
              <a:r>
                <a:rPr kumimoji="0" lang="en-US" sz="75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rPr>
                <a:t>xxxx</a:t>
              </a: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rPr>
                <a:t>  3. </a:t>
              </a:r>
              <a:r>
                <a:rPr kumimoji="0" lang="en-US" sz="75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rPr>
                <a:t>xxxx</a:t>
              </a:r>
              <a:endPara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endParaRPr>
            </a:p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 baseline="0">
                <a:solidFill>
                  <a:schemeClr val="tx1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647342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smtClean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NN Sustainability_check-point_4_14Oct2019_v12_stickers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cxnSp>
        <p:nvCxnSpPr>
          <p:cNvPr id="52" name="Прямая соединительная линия 34"/>
          <p:cNvCxnSpPr/>
          <p:nvPr userDrawn="1"/>
        </p:nvCxnSpPr>
        <p:spPr>
          <a:xfrm>
            <a:off x="472500" y="1149371"/>
            <a:ext cx="8199900" cy="0"/>
          </a:xfrm>
          <a:prstGeom prst="line">
            <a:avLst/>
          </a:prstGeom>
          <a:ln w="25400">
            <a:solidFill>
              <a:srgbClr val="0077C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8857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932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8375904" y="6442872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/>
          <p:cNvSpPr txBox="1"/>
          <p:nvPr userDrawn="1"/>
        </p:nvSpPr>
        <p:spPr>
          <a:xfrm rot="16200000">
            <a:off x="647342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 smtClean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9 by Boston Consulting Group. All rights reserved.</a:t>
            </a:r>
            <a:endParaRPr lang="en-US" sz="525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963557" y="1428131"/>
            <a:ext cx="710754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eaLnBrk="1"/>
            <a:endParaRPr lang="en-US" sz="9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963900" y="2667600"/>
            <a:ext cx="72144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eaLnBrk="1" fontAlgn="auto">
              <a:spcBef>
                <a:spcPts val="0"/>
              </a:spcBef>
              <a:spcAft>
                <a:spcPts val="0"/>
              </a:spcAft>
            </a:pPr>
            <a:endParaRPr lang="en-US" sz="15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5122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349" name="Слайд think-cell" r:id="rId6" imgW="473" imgH="473" progId="TCLayout.ActiveDocument.1">
                  <p:embed/>
                </p:oleObj>
              </mc:Choice>
              <mc:Fallback>
                <p:oleObj name="Слайд think-cell" r:id="rId6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0" i="0" baseline="0" dirty="0" err="1" smtClean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90100" y="0"/>
            <a:ext cx="312713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-1" y="0"/>
            <a:ext cx="719253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eaLnBrk="1"/>
            <a:endParaRPr lang="en-US" sz="9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6443508"/>
            <a:ext cx="1111538" cy="115416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2" name="Copyright"/>
          <p:cNvSpPr txBox="1"/>
          <p:nvPr userDrawn="1"/>
        </p:nvSpPr>
        <p:spPr>
          <a:xfrm rot="16200000">
            <a:off x="647342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6443508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622801"/>
            <a:ext cx="6076188" cy="2492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smtClean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NN Sustainability_check-point_4_14Oct2019_v12_stickers.pptx</a:t>
            </a:r>
            <a:endParaRPr lang="en-US" sz="52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9858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373" name="Слайд think-cell" r:id="rId5" imgW="473" imgH="473" progId="TCLayout.ActiveDocument.1">
                  <p:embed/>
                </p:oleObj>
              </mc:Choice>
              <mc:Fallback>
                <p:oleObj name="Слайд think-cell" r:id="rId5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0" i="0" baseline="0" dirty="0" err="1" smtClean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2050" y="2085628"/>
            <a:ext cx="8200463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pyright"/>
          <p:cNvSpPr txBox="1"/>
          <p:nvPr userDrawn="1"/>
        </p:nvSpPr>
        <p:spPr>
          <a:xfrm rot="16200000">
            <a:off x="647342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BCG. All rights reserved.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1508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2397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/>
          <p:cNvSpPr txBox="1"/>
          <p:nvPr userDrawn="1"/>
        </p:nvSpPr>
        <p:spPr>
          <a:xfrm rot="16200000">
            <a:off x="647342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72500" y="622801"/>
            <a:ext cx="8200013" cy="2492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NN Sustainability_check-point_4_14Oct2019_v12_stickers.pptx</a:t>
            </a:r>
            <a:endParaRPr lang="en-US" sz="525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3608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AGE NUMBER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GB" altLang="zh-TW" dirty="0" smtClean="0">
                <a:solidFill>
                  <a:srgbClr val="14446C"/>
                </a:solidFill>
              </a:rPr>
              <a:t> </a:t>
            </a:r>
            <a:fld id="{BCBD0C45-D218-4E03-84AA-09978F94A818}" type="slidenum">
              <a:rPr lang="en-GB" altLang="zh-TW" smtClean="0">
                <a:solidFill>
                  <a:srgbClr val="14446C"/>
                </a:solidFill>
              </a:rPr>
              <a:pPr/>
              <a:t>‹#›</a:t>
            </a:fld>
            <a:endParaRPr lang="en-GB" altLang="zh-TW" dirty="0">
              <a:solidFill>
                <a:srgbClr val="14446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87737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2.jpeg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slideLayout" Target="../slideLayouts/slideLayout7.xml"/><Relationship Id="rId7" Type="http://schemas.openxmlformats.org/officeDocument/2006/relationships/tags" Target="../tags/tag11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tags" Target="../tags/tag10.xml"/><Relationship Id="rId11" Type="http://schemas.openxmlformats.org/officeDocument/2006/relationships/image" Target="../media/image5.wmf"/><Relationship Id="rId5" Type="http://schemas.openxmlformats.org/officeDocument/2006/relationships/vmlDrawing" Target="../drawings/vmlDrawing4.vml"/><Relationship Id="rId10" Type="http://schemas.openxmlformats.org/officeDocument/2006/relationships/image" Target="../media/image4.wmf"/><Relationship Id="rId4" Type="http://schemas.openxmlformats.org/officeDocument/2006/relationships/theme" Target="../theme/theme2.xml"/><Relationship Id="rId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18" Type="http://schemas.openxmlformats.org/officeDocument/2006/relationships/tags" Target="../tags/tag15.xml"/><Relationship Id="rId26" Type="http://schemas.openxmlformats.org/officeDocument/2006/relationships/image" Target="../media/image11.png"/><Relationship Id="rId3" Type="http://schemas.openxmlformats.org/officeDocument/2006/relationships/slideLayout" Target="../slideLayouts/slideLayout10.xml"/><Relationship Id="rId21" Type="http://schemas.openxmlformats.org/officeDocument/2006/relationships/tags" Target="../tags/tag18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17" Type="http://schemas.openxmlformats.org/officeDocument/2006/relationships/tags" Target="../tags/tag14.xml"/><Relationship Id="rId25" Type="http://schemas.openxmlformats.org/officeDocument/2006/relationships/image" Target="../media/image10.emf"/><Relationship Id="rId2" Type="http://schemas.openxmlformats.org/officeDocument/2006/relationships/slideLayout" Target="../slideLayouts/slideLayout9.xml"/><Relationship Id="rId16" Type="http://schemas.openxmlformats.org/officeDocument/2006/relationships/vmlDrawing" Target="../drawings/vmlDrawing7.v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24" Type="http://schemas.openxmlformats.org/officeDocument/2006/relationships/oleObject" Target="../embeddings/oleObject7.bin"/><Relationship Id="rId5" Type="http://schemas.openxmlformats.org/officeDocument/2006/relationships/slideLayout" Target="../slideLayouts/slideLayout12.xml"/><Relationship Id="rId15" Type="http://schemas.openxmlformats.org/officeDocument/2006/relationships/theme" Target="../theme/theme3.xml"/><Relationship Id="rId23" Type="http://schemas.openxmlformats.org/officeDocument/2006/relationships/tags" Target="../tags/tag20.xml"/><Relationship Id="rId10" Type="http://schemas.openxmlformats.org/officeDocument/2006/relationships/slideLayout" Target="../slideLayouts/slideLayout17.xml"/><Relationship Id="rId19" Type="http://schemas.openxmlformats.org/officeDocument/2006/relationships/tags" Target="../tags/tag16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Relationship Id="rId22" Type="http://schemas.openxmlformats.org/officeDocument/2006/relationships/tags" Target="../tags/tag1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slideLayout" Target="../slideLayouts/slideLayout24.xml"/><Relationship Id="rId7" Type="http://schemas.openxmlformats.org/officeDocument/2006/relationships/tags" Target="../tags/tag38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tags" Target="../tags/tag37.xml"/><Relationship Id="rId11" Type="http://schemas.openxmlformats.org/officeDocument/2006/relationships/image" Target="../media/image5.wmf"/><Relationship Id="rId5" Type="http://schemas.openxmlformats.org/officeDocument/2006/relationships/vmlDrawing" Target="../drawings/vmlDrawing10.vml"/><Relationship Id="rId10" Type="http://schemas.openxmlformats.org/officeDocument/2006/relationships/image" Target="../media/image4.wmf"/><Relationship Id="rId4" Type="http://schemas.openxmlformats.org/officeDocument/2006/relationships/theme" Target="../theme/theme4.xml"/><Relationship Id="rId9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slideLayout" Target="../slideLayouts/slideLayout27.xml"/><Relationship Id="rId7" Type="http://schemas.openxmlformats.org/officeDocument/2006/relationships/tags" Target="../tags/tag42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tags" Target="../tags/tag41.xml"/><Relationship Id="rId11" Type="http://schemas.openxmlformats.org/officeDocument/2006/relationships/image" Target="../media/image5.wmf"/><Relationship Id="rId5" Type="http://schemas.openxmlformats.org/officeDocument/2006/relationships/vmlDrawing" Target="../drawings/vmlDrawing13.vml"/><Relationship Id="rId10" Type="http://schemas.openxmlformats.org/officeDocument/2006/relationships/image" Target="../media/image4.wmf"/><Relationship Id="rId4" Type="http://schemas.openxmlformats.org/officeDocument/2006/relationships/theme" Target="../theme/theme5.xml"/><Relationship Id="rId9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48.xml"/><Relationship Id="rId34" Type="http://schemas.openxmlformats.org/officeDocument/2006/relationships/slideLayout" Target="../slideLayouts/slideLayout61.xml"/><Relationship Id="rId42" Type="http://schemas.openxmlformats.org/officeDocument/2006/relationships/slideLayout" Target="../slideLayouts/slideLayout69.xml"/><Relationship Id="rId47" Type="http://schemas.openxmlformats.org/officeDocument/2006/relationships/slideLayout" Target="../slideLayouts/slideLayout74.xml"/><Relationship Id="rId50" Type="http://schemas.openxmlformats.org/officeDocument/2006/relationships/slideLayout" Target="../slideLayouts/slideLayout77.xml"/><Relationship Id="rId55" Type="http://schemas.openxmlformats.org/officeDocument/2006/relationships/slideLayout" Target="../slideLayouts/slideLayout82.xml"/><Relationship Id="rId63" Type="http://schemas.openxmlformats.org/officeDocument/2006/relationships/tags" Target="../tags/tag45.xml"/><Relationship Id="rId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9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38.xml"/><Relationship Id="rId24" Type="http://schemas.openxmlformats.org/officeDocument/2006/relationships/slideLayout" Target="../slideLayouts/slideLayout51.xml"/><Relationship Id="rId32" Type="http://schemas.openxmlformats.org/officeDocument/2006/relationships/slideLayout" Target="../slideLayouts/slideLayout59.xml"/><Relationship Id="rId37" Type="http://schemas.openxmlformats.org/officeDocument/2006/relationships/slideLayout" Target="../slideLayouts/slideLayout64.xml"/><Relationship Id="rId40" Type="http://schemas.openxmlformats.org/officeDocument/2006/relationships/slideLayout" Target="../slideLayouts/slideLayout67.xml"/><Relationship Id="rId45" Type="http://schemas.openxmlformats.org/officeDocument/2006/relationships/slideLayout" Target="../slideLayouts/slideLayout72.xml"/><Relationship Id="rId53" Type="http://schemas.openxmlformats.org/officeDocument/2006/relationships/slideLayout" Target="../slideLayouts/slideLayout80.xml"/><Relationship Id="rId58" Type="http://schemas.openxmlformats.org/officeDocument/2006/relationships/slideLayout" Target="../slideLayouts/slideLayout85.xml"/><Relationship Id="rId66" Type="http://schemas.openxmlformats.org/officeDocument/2006/relationships/image" Target="../media/image13.emf"/><Relationship Id="rId5" Type="http://schemas.openxmlformats.org/officeDocument/2006/relationships/slideLayout" Target="../slideLayouts/slideLayout32.xml"/><Relationship Id="rId61" Type="http://schemas.openxmlformats.org/officeDocument/2006/relationships/theme" Target="../theme/theme6.xml"/><Relationship Id="rId1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41.xml"/><Relationship Id="rId22" Type="http://schemas.openxmlformats.org/officeDocument/2006/relationships/slideLayout" Target="../slideLayouts/slideLayout49.xml"/><Relationship Id="rId27" Type="http://schemas.openxmlformats.org/officeDocument/2006/relationships/slideLayout" Target="../slideLayouts/slideLayout54.xml"/><Relationship Id="rId30" Type="http://schemas.openxmlformats.org/officeDocument/2006/relationships/slideLayout" Target="../slideLayouts/slideLayout57.xml"/><Relationship Id="rId35" Type="http://schemas.openxmlformats.org/officeDocument/2006/relationships/slideLayout" Target="../slideLayouts/slideLayout62.xml"/><Relationship Id="rId43" Type="http://schemas.openxmlformats.org/officeDocument/2006/relationships/slideLayout" Target="../slideLayouts/slideLayout70.xml"/><Relationship Id="rId48" Type="http://schemas.openxmlformats.org/officeDocument/2006/relationships/slideLayout" Target="../slideLayouts/slideLayout75.xml"/><Relationship Id="rId56" Type="http://schemas.openxmlformats.org/officeDocument/2006/relationships/slideLayout" Target="../slideLayouts/slideLayout83.xml"/><Relationship Id="rId64" Type="http://schemas.openxmlformats.org/officeDocument/2006/relationships/tags" Target="../tags/tag46.xml"/><Relationship Id="rId8" Type="http://schemas.openxmlformats.org/officeDocument/2006/relationships/slideLayout" Target="../slideLayouts/slideLayout35.xml"/><Relationship Id="rId51" Type="http://schemas.openxmlformats.org/officeDocument/2006/relationships/slideLayout" Target="../slideLayouts/slideLayout78.xml"/><Relationship Id="rId3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5" Type="http://schemas.openxmlformats.org/officeDocument/2006/relationships/slideLayout" Target="../slideLayouts/slideLayout52.xml"/><Relationship Id="rId33" Type="http://schemas.openxmlformats.org/officeDocument/2006/relationships/slideLayout" Target="../slideLayouts/slideLayout60.xml"/><Relationship Id="rId38" Type="http://schemas.openxmlformats.org/officeDocument/2006/relationships/slideLayout" Target="../slideLayouts/slideLayout65.xml"/><Relationship Id="rId46" Type="http://schemas.openxmlformats.org/officeDocument/2006/relationships/slideLayout" Target="../slideLayouts/slideLayout73.xml"/><Relationship Id="rId59" Type="http://schemas.openxmlformats.org/officeDocument/2006/relationships/slideLayout" Target="../slideLayouts/slideLayout86.xml"/><Relationship Id="rId20" Type="http://schemas.openxmlformats.org/officeDocument/2006/relationships/slideLayout" Target="../slideLayouts/slideLayout47.xml"/><Relationship Id="rId41" Type="http://schemas.openxmlformats.org/officeDocument/2006/relationships/slideLayout" Target="../slideLayouts/slideLayout68.xml"/><Relationship Id="rId54" Type="http://schemas.openxmlformats.org/officeDocument/2006/relationships/slideLayout" Target="../slideLayouts/slideLayout81.xml"/><Relationship Id="rId62" Type="http://schemas.openxmlformats.org/officeDocument/2006/relationships/vmlDrawing" Target="../drawings/vmlDrawing16.v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2.xml"/><Relationship Id="rId23" Type="http://schemas.openxmlformats.org/officeDocument/2006/relationships/slideLayout" Target="../slideLayouts/slideLayout50.xml"/><Relationship Id="rId28" Type="http://schemas.openxmlformats.org/officeDocument/2006/relationships/slideLayout" Target="../slideLayouts/slideLayout55.xml"/><Relationship Id="rId36" Type="http://schemas.openxmlformats.org/officeDocument/2006/relationships/slideLayout" Target="../slideLayouts/slideLayout63.xml"/><Relationship Id="rId49" Type="http://schemas.openxmlformats.org/officeDocument/2006/relationships/slideLayout" Target="../slideLayouts/slideLayout76.xml"/><Relationship Id="rId57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37.xml"/><Relationship Id="rId31" Type="http://schemas.openxmlformats.org/officeDocument/2006/relationships/slideLayout" Target="../slideLayouts/slideLayout58.xml"/><Relationship Id="rId44" Type="http://schemas.openxmlformats.org/officeDocument/2006/relationships/slideLayout" Target="../slideLayouts/slideLayout71.xml"/><Relationship Id="rId52" Type="http://schemas.openxmlformats.org/officeDocument/2006/relationships/slideLayout" Target="../slideLayouts/slideLayout79.xml"/><Relationship Id="rId60" Type="http://schemas.openxmlformats.org/officeDocument/2006/relationships/slideLayout" Target="../slideLayouts/slideLayout87.xml"/><Relationship Id="rId65" Type="http://schemas.openxmlformats.org/officeDocument/2006/relationships/oleObject" Target="../embeddings/oleObject16.bin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39" Type="http://schemas.openxmlformats.org/officeDocument/2006/relationships/slideLayout" Target="../slideLayouts/slideLayout6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5587627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0254" name="Слайд think-cell" r:id="rId9" imgW="270" imgH="270" progId="TCLayout.ActiveDocument.1">
                  <p:embed/>
                </p:oleObj>
              </mc:Choice>
              <mc:Fallback>
                <p:oleObj name="Слайд think-cell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26"/>
          <p:cNvSpPr/>
          <p:nvPr/>
        </p:nvSpPr>
        <p:spPr>
          <a:xfrm>
            <a:off x="361113" y="747045"/>
            <a:ext cx="8421774" cy="21600"/>
          </a:xfrm>
          <a:prstGeom prst="rect">
            <a:avLst/>
          </a:prstGeom>
          <a:solidFill>
            <a:srgbClr val="0077C8"/>
          </a:solidFill>
          <a:ln w="25400" cap="flat">
            <a:solidFill>
              <a:srgbClr val="0077C8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 dirty="0">
              <a:ln>
                <a:noFill/>
              </a:ln>
              <a:solidFill>
                <a:srgbClr val="1F1B1A"/>
              </a:solidFill>
              <a:effectLst/>
              <a:uFillTx/>
              <a:latin typeface="Tahoma"/>
              <a:ea typeface="Tahoma"/>
              <a:cs typeface="Tahoma"/>
              <a:sym typeface="Tahoma"/>
            </a:endParaRPr>
          </a:p>
        </p:txBody>
      </p:sp>
      <p:sp>
        <p:nvSpPr>
          <p:cNvPr id="11" name="Прямоугольник 26"/>
          <p:cNvSpPr/>
          <p:nvPr/>
        </p:nvSpPr>
        <p:spPr>
          <a:xfrm>
            <a:off x="361113" y="6245056"/>
            <a:ext cx="8421774" cy="21600"/>
          </a:xfrm>
          <a:prstGeom prst="rect">
            <a:avLst/>
          </a:prstGeom>
          <a:solidFill>
            <a:srgbClr val="0080C8"/>
          </a:solidFill>
          <a:ln w="19050" cap="flat">
            <a:solidFill>
              <a:srgbClr val="0077C8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 dirty="0">
              <a:ln>
                <a:noFill/>
              </a:ln>
              <a:solidFill>
                <a:srgbClr val="1F1B1A"/>
              </a:solidFill>
              <a:effectLst/>
              <a:uFillTx/>
              <a:latin typeface="Tahoma"/>
              <a:ea typeface="Tahoma"/>
              <a:cs typeface="Tahoma"/>
              <a:sym typeface="Tahoma"/>
            </a:endParaRPr>
          </a:p>
        </p:txBody>
      </p:sp>
      <p:sp>
        <p:nvSpPr>
          <p:cNvPr id="12" name="PAGE NUMBER"/>
          <p:cNvSpPr>
            <a:spLocks noGrp="1" noChangeArrowheads="1"/>
          </p:cNvSpPr>
          <p:nvPr>
            <p:ph type="sldNum" sz="quarter" idx="4"/>
            <p:custDataLst>
              <p:tags r:id="rId8"/>
            </p:custDataLst>
          </p:nvPr>
        </p:nvSpPr>
        <p:spPr bwMode="black">
          <a:xfrm>
            <a:off x="8353137" y="6348557"/>
            <a:ext cx="375227" cy="38677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spcBef>
                <a:spcPct val="0"/>
              </a:spcBef>
              <a:defRPr sz="1000" b="0">
                <a:solidFill>
                  <a:schemeClr val="tx2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defTabSz="913588">
              <a:defRPr/>
            </a:pPr>
            <a:r>
              <a:rPr lang="en-GB" altLang="zh-TW" dirty="0">
                <a:latin typeface="Tahoma" panose="020B0604030504040204" pitchFamily="34" charset="0"/>
              </a:rPr>
              <a:t> </a:t>
            </a:r>
            <a:fld id="{AC2CF52D-F9E0-495D-B83C-D554EBBABCB3}" type="slidenum">
              <a:rPr lang="en-GB" altLang="zh-TW" smtClean="0">
                <a:latin typeface="Tahoma" panose="020B0604030504040204" pitchFamily="34" charset="0"/>
              </a:rPr>
              <a:pPr defTabSz="913588">
                <a:defRPr/>
              </a:pPr>
              <a:t>‹#›</a:t>
            </a:fld>
            <a:endParaRPr lang="en-GB" altLang="zh-TW" dirty="0">
              <a:latin typeface="Tahoma" panose="020B060403050404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76782" y="6381453"/>
            <a:ext cx="1176355" cy="320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51851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3" r:id="rId2"/>
    <p:sldLayoutId id="2147483915" r:id="rId3"/>
    <p:sldLayoutId id="2147483917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0124854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3918" name="Слайд think-cell" r:id="rId8" imgW="270" imgH="270" progId="TCLayout.ActiveDocument.1">
                  <p:embed/>
                </p:oleObj>
              </mc:Choice>
              <mc:Fallback>
                <p:oleObj name="Слайд think-cell" r:id="rId8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ru-RU" sz="2400" b="0" i="0" baseline="0" dirty="0">
              <a:solidFill>
                <a:schemeClr val="bg1"/>
              </a:solidFill>
              <a:latin typeface="Tahoma" panose="020B0604030504040204" pitchFamily="34" charset="0"/>
              <a:ea typeface="+mj-ea"/>
              <a:cs typeface="+mj-cs"/>
              <a:sym typeface="Tahoma" panose="020B060403050404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7" y="163284"/>
            <a:ext cx="7453313" cy="63341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87338" y="1225220"/>
            <a:ext cx="8570912" cy="507107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532440" y="6549154"/>
            <a:ext cx="322836" cy="1920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E7EDDEF7-4D45-49A0-8BE1-BFE95F4A2986}" type="slidenum">
              <a:rPr lang="ru-RU" smtClean="0"/>
              <a:t>‹#›</a:t>
            </a:fld>
            <a:endParaRPr lang="ru-RU" dirty="0"/>
          </a:p>
        </p:txBody>
      </p:sp>
      <p:cxnSp>
        <p:nvCxnSpPr>
          <p:cNvPr id="35" name="Прямая соединительная линия 34"/>
          <p:cNvCxnSpPr/>
          <p:nvPr/>
        </p:nvCxnSpPr>
        <p:spPr>
          <a:xfrm>
            <a:off x="287338" y="882086"/>
            <a:ext cx="8568000" cy="0"/>
          </a:xfrm>
          <a:prstGeom prst="line">
            <a:avLst/>
          </a:prstGeom>
          <a:ln w="254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com_taina_rus" hidden="1"/>
          <p:cNvSpPr txBox="1"/>
          <p:nvPr/>
        </p:nvSpPr>
        <p:spPr>
          <a:xfrm>
            <a:off x="7960304" y="711347"/>
            <a:ext cx="902491" cy="11233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730" dirty="0">
                <a:solidFill>
                  <a:srgbClr val="5B5B5B"/>
                </a:solidFill>
              </a:rPr>
              <a:t>Коммерческая тайна</a:t>
            </a:r>
          </a:p>
        </p:txBody>
      </p:sp>
      <p:sp>
        <p:nvSpPr>
          <p:cNvPr id="24" name="nav_razd1" hidden="1"/>
          <p:cNvSpPr txBox="1"/>
          <p:nvPr/>
        </p:nvSpPr>
        <p:spPr>
          <a:xfrm>
            <a:off x="287337" y="961415"/>
            <a:ext cx="1296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000" dirty="0">
                <a:solidFill>
                  <a:srgbClr val="0077C8"/>
                </a:solidFill>
              </a:rPr>
              <a:t>Lorem ipsum dolor</a:t>
            </a:r>
          </a:p>
        </p:txBody>
      </p:sp>
      <p:sp>
        <p:nvSpPr>
          <p:cNvPr id="25" name="nav_razd2" hidden="1"/>
          <p:cNvSpPr txBox="1"/>
          <p:nvPr/>
        </p:nvSpPr>
        <p:spPr>
          <a:xfrm>
            <a:off x="1741878" y="961415"/>
            <a:ext cx="1296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000" dirty="0">
                <a:solidFill>
                  <a:srgbClr val="9D9E9E"/>
                </a:solidFill>
              </a:rPr>
              <a:t>Lorem ipsum dolor</a:t>
            </a:r>
          </a:p>
        </p:txBody>
      </p:sp>
      <p:sp>
        <p:nvSpPr>
          <p:cNvPr id="26" name="nav_razd3" hidden="1"/>
          <p:cNvSpPr txBox="1"/>
          <p:nvPr/>
        </p:nvSpPr>
        <p:spPr>
          <a:xfrm>
            <a:off x="3196419" y="961415"/>
            <a:ext cx="1296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000" dirty="0">
                <a:solidFill>
                  <a:srgbClr val="9D9E9E"/>
                </a:solidFill>
              </a:rPr>
              <a:t>Lorem ipsum dolor</a:t>
            </a:r>
          </a:p>
        </p:txBody>
      </p:sp>
      <p:sp>
        <p:nvSpPr>
          <p:cNvPr id="31" name="nav_razd4" hidden="1"/>
          <p:cNvSpPr txBox="1"/>
          <p:nvPr/>
        </p:nvSpPr>
        <p:spPr>
          <a:xfrm>
            <a:off x="4650960" y="961415"/>
            <a:ext cx="1296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000" dirty="0">
                <a:solidFill>
                  <a:srgbClr val="9D9E9E"/>
                </a:solidFill>
              </a:rPr>
              <a:t>Lorem ipsum dolor</a:t>
            </a:r>
          </a:p>
        </p:txBody>
      </p:sp>
      <p:sp>
        <p:nvSpPr>
          <p:cNvPr id="39" name="nav_razd5" hidden="1"/>
          <p:cNvSpPr txBox="1"/>
          <p:nvPr/>
        </p:nvSpPr>
        <p:spPr>
          <a:xfrm>
            <a:off x="6105501" y="961415"/>
            <a:ext cx="1296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solidFill>
                  <a:srgbClr val="9D9E9E"/>
                </a:solidFill>
              </a:rPr>
              <a:t>Lorem ipsum dolor</a:t>
            </a:r>
          </a:p>
        </p:txBody>
      </p:sp>
      <p:sp>
        <p:nvSpPr>
          <p:cNvPr id="40" name="nav_razd6" hidden="1"/>
          <p:cNvSpPr txBox="1"/>
          <p:nvPr/>
        </p:nvSpPr>
        <p:spPr>
          <a:xfrm>
            <a:off x="7560043" y="961415"/>
            <a:ext cx="1296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000" dirty="0">
                <a:solidFill>
                  <a:srgbClr val="9D9E9E"/>
                </a:solidFill>
              </a:rPr>
              <a:t>Lorem ipsum dolor</a:t>
            </a:r>
          </a:p>
        </p:txBody>
      </p:sp>
      <p:sp>
        <p:nvSpPr>
          <p:cNvPr id="32" name="com_taina1_rus" hidden="1"/>
          <p:cNvSpPr txBox="1"/>
          <p:nvPr/>
        </p:nvSpPr>
        <p:spPr>
          <a:xfrm>
            <a:off x="7915238" y="711347"/>
            <a:ext cx="974626" cy="11233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730" dirty="0">
                <a:solidFill>
                  <a:srgbClr val="5B5B5B"/>
                </a:solidFill>
              </a:rPr>
              <a:t>Коммерческая тайна</a:t>
            </a:r>
            <a:r>
              <a:rPr lang="en-US" sz="730" dirty="0">
                <a:solidFill>
                  <a:srgbClr val="5B5B5B"/>
                </a:solidFill>
              </a:rPr>
              <a:t> 1</a:t>
            </a:r>
            <a:endParaRPr lang="ru-RU" sz="730" dirty="0">
              <a:solidFill>
                <a:srgbClr val="5B5B5B"/>
              </a:solidFill>
            </a:endParaRPr>
          </a:p>
        </p:txBody>
      </p:sp>
      <p:sp>
        <p:nvSpPr>
          <p:cNvPr id="33" name="com_taina_eng" hidden="1"/>
          <p:cNvSpPr txBox="1"/>
          <p:nvPr/>
        </p:nvSpPr>
        <p:spPr>
          <a:xfrm>
            <a:off x="8152664" y="711347"/>
            <a:ext cx="517770" cy="11233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30" dirty="0">
                <a:solidFill>
                  <a:srgbClr val="5B5B5B"/>
                </a:solidFill>
              </a:rPr>
              <a:t>Trade secret</a:t>
            </a:r>
          </a:p>
        </p:txBody>
      </p:sp>
      <p:sp>
        <p:nvSpPr>
          <p:cNvPr id="36" name="com_taina1_eng" hidden="1"/>
          <p:cNvSpPr txBox="1"/>
          <p:nvPr/>
        </p:nvSpPr>
        <p:spPr>
          <a:xfrm>
            <a:off x="8068755" y="711347"/>
            <a:ext cx="597921" cy="11233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30" dirty="0">
                <a:solidFill>
                  <a:srgbClr val="5B5B5B"/>
                </a:solidFill>
              </a:rPr>
              <a:t>Trade secret 1</a:t>
            </a:r>
          </a:p>
        </p:txBody>
      </p:sp>
      <p:pic>
        <p:nvPicPr>
          <p:cNvPr id="56" name="LogoEng_vnutr" hidden="1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8387" y="156968"/>
            <a:ext cx="699002" cy="446400"/>
          </a:xfrm>
          <a:prstGeom prst="rect">
            <a:avLst/>
          </a:prstGeom>
        </p:spPr>
      </p:pic>
      <p:pic>
        <p:nvPicPr>
          <p:cNvPr id="58" name="LogoRus_vnutr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1060" y="156968"/>
            <a:ext cx="773657" cy="446400"/>
          </a:xfrm>
          <a:prstGeom prst="rect">
            <a:avLst/>
          </a:prstGeom>
        </p:spPr>
      </p:pic>
      <p:sp>
        <p:nvSpPr>
          <p:cNvPr id="5" name="Workspace [Presentation]" hidden="1"/>
          <p:cNvSpPr/>
          <p:nvPr userDrawn="1"/>
        </p:nvSpPr>
        <p:spPr>
          <a:xfrm>
            <a:off x="362269" y="6440967"/>
            <a:ext cx="8100001" cy="144000"/>
          </a:xfrm>
          <a:prstGeom prst="rect">
            <a:avLst/>
          </a:prstGeom>
          <a:noFill/>
          <a:ln w="12700">
            <a:solidFill>
              <a:srgbClr val="D24726"/>
            </a:solidFill>
            <a:prstDash val="lgDash"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lIns="252000" tIns="90000" rIns="252000" bIns="90000" rtlCol="0" anchor="ctr">
            <a:normAutofit fontScale="25000" lnSpcReduction="20000"/>
          </a:bodyPr>
          <a:lstStyle/>
          <a:p>
            <a:pPr algn="ctr">
              <a:spcBef>
                <a:spcPts val="1200"/>
              </a:spcBef>
              <a:buFont typeface="Arial" panose="020B0604020202020204" pitchFamily="34" charset="0"/>
              <a:buNone/>
            </a:pPr>
            <a:endParaRPr lang="ru-RU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06330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1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spcBef>
          <a:spcPts val="1200"/>
        </a:spcBef>
        <a:buClr>
          <a:schemeClr val="accent2"/>
        </a:buClr>
        <a:buFont typeface="Tahoma" panose="020B0604030504040204" pitchFamily="34" charset="0"/>
        <a:buChar char="●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5600" indent="-174625" algn="l" defTabSz="914400" rtl="0" eaLnBrk="1" latinLnBrk="0" hangingPunct="1">
        <a:spcBef>
          <a:spcPts val="600"/>
        </a:spcBef>
        <a:buClr>
          <a:schemeClr val="accent6"/>
        </a:buClr>
        <a:buFont typeface="Tahoma" panose="020B0604030504040204" pitchFamily="34" charset="0"/>
        <a:buChar char="●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5">
          <p15:clr>
            <a:srgbClr val="F26B43"/>
          </p15:clr>
        </p15:guide>
        <p15:guide id="2" pos="173">
          <p15:clr>
            <a:srgbClr val="F26B43"/>
          </p15:clr>
        </p15:guide>
        <p15:guide id="3" pos="5587">
          <p15:clr>
            <a:srgbClr val="F26B43"/>
          </p15:clr>
        </p15:guide>
        <p15:guide id="4" pos="2880">
          <p15:clr>
            <a:srgbClr val="F26B43"/>
          </p15:clr>
        </p15:guide>
        <p15:guide id="5" orient="horz" pos="3974">
          <p15:clr>
            <a:srgbClr val="F26B43"/>
          </p15:clr>
        </p15:guide>
        <p15:guide id="6" orient="horz" pos="4222">
          <p15:clr>
            <a:srgbClr val="F26B43"/>
          </p15:clr>
        </p15:guide>
        <p15:guide id="7" orient="horz" pos="754">
          <p15:clr>
            <a:srgbClr val="F26B43"/>
          </p15:clr>
        </p15:guide>
        <p15:guide id="8" orient="horz" pos="50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568764453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275" name="Слайд think-cell" r:id="rId24" imgW="572" imgH="429" progId="TCLayout.ActiveDocument.1">
                  <p:embed/>
                </p:oleObj>
              </mc:Choice>
              <mc:Fallback>
                <p:oleObj name="Слайд think-cell" r:id="rId24" imgW="572" imgH="429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 userDrawn="1">
            <p:custDataLst>
              <p:tags r:id="rId18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rgbClr val="96969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1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551" b="1" i="0" u="none" strike="noStrike" cap="none" normalizeH="0" baseline="0" dirty="0" smtClean="0">
              <a:ln>
                <a:noFill/>
              </a:ln>
              <a:solidFill>
                <a:srgbClr val="164463"/>
              </a:solidFill>
              <a:effectLst/>
              <a:latin typeface="Arial" panose="020B0604020202020204" pitchFamily="34" charset="0"/>
              <a:ea typeface="Batang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26" name="PAGE HEADING"/>
          <p:cNvSpPr>
            <a:spLocks noGrp="1" noChangeArrowheads="1"/>
          </p:cNvSpPr>
          <p:nvPr>
            <p:ph type="title"/>
            <p:custDataLst>
              <p:tags r:id="rId19"/>
            </p:custDataLst>
          </p:nvPr>
        </p:nvSpPr>
        <p:spPr bwMode="black">
          <a:xfrm>
            <a:off x="311740" y="161636"/>
            <a:ext cx="8432512" cy="8153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80383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zh-TW" smtClean="0"/>
              <a:t>Click to edit Master title style</a:t>
            </a:r>
          </a:p>
        </p:txBody>
      </p:sp>
      <p:sp>
        <p:nvSpPr>
          <p:cNvPr id="1027" name="Text Box 9" hidden="1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2107050" y="77933"/>
            <a:ext cx="6648740" cy="800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rgbClr val="164463"/>
                </a:solidFill>
                <a:latin typeface="Arial" pitchFamily="34" charset="0"/>
                <a:ea typeface="Batang" pitchFamily="18" charset="-127"/>
              </a:defRPr>
            </a:lvl1pPr>
            <a:lvl2pPr marL="742950" indent="-285750">
              <a:defRPr sz="1300" b="1">
                <a:solidFill>
                  <a:srgbClr val="164463"/>
                </a:solidFill>
                <a:latin typeface="Arial" pitchFamily="34" charset="0"/>
                <a:ea typeface="Batang" pitchFamily="18" charset="-127"/>
              </a:defRPr>
            </a:lvl2pPr>
            <a:lvl3pPr marL="1143000" indent="-228600">
              <a:defRPr sz="1300" b="1">
                <a:solidFill>
                  <a:srgbClr val="164463"/>
                </a:solidFill>
                <a:latin typeface="Arial" pitchFamily="34" charset="0"/>
                <a:ea typeface="Batang" pitchFamily="18" charset="-127"/>
              </a:defRPr>
            </a:lvl3pPr>
            <a:lvl4pPr marL="1600200" indent="-228600">
              <a:defRPr sz="1300" b="1">
                <a:solidFill>
                  <a:srgbClr val="164463"/>
                </a:solidFill>
                <a:latin typeface="Arial" pitchFamily="34" charset="0"/>
                <a:ea typeface="Batang" pitchFamily="18" charset="-127"/>
              </a:defRPr>
            </a:lvl4pPr>
            <a:lvl5pPr marL="2057400" indent="-228600">
              <a:defRPr sz="1300" b="1">
                <a:solidFill>
                  <a:srgbClr val="164463"/>
                </a:solidFill>
                <a:latin typeface="Arial" pitchFamily="34" charset="0"/>
                <a:ea typeface="Batang" pitchFamily="18" charset="-127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300" b="1">
                <a:solidFill>
                  <a:srgbClr val="164463"/>
                </a:solidFill>
                <a:latin typeface="Arial" pitchFamily="34" charset="0"/>
                <a:ea typeface="Batang" pitchFamily="18" charset="-127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300" b="1">
                <a:solidFill>
                  <a:srgbClr val="164463"/>
                </a:solidFill>
                <a:latin typeface="Arial" pitchFamily="34" charset="0"/>
                <a:ea typeface="Batang" pitchFamily="18" charset="-127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300" b="1">
                <a:solidFill>
                  <a:srgbClr val="164463"/>
                </a:solidFill>
                <a:latin typeface="Arial" pitchFamily="34" charset="0"/>
                <a:ea typeface="Batang" pitchFamily="18" charset="-127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300" b="1">
                <a:solidFill>
                  <a:srgbClr val="164463"/>
                </a:solidFill>
                <a:latin typeface="Arial" pitchFamily="34" charset="0"/>
                <a:ea typeface="Batang" pitchFamily="18" charset="-127"/>
              </a:defRPr>
            </a:lvl9pPr>
          </a:lstStyle>
          <a:p>
            <a:pPr algn="r">
              <a:defRPr/>
            </a:pPr>
            <a:r>
              <a:rPr lang="de-DE" sz="510" b="0" noProof="1" smtClean="0">
                <a:solidFill>
                  <a:srgbClr val="969696"/>
                </a:solidFill>
              </a:rPr>
              <a:t>samuelre [printed: October 31, 2009 1:58 AM] [saved: October 31, 2009 1:49 PM] T:\TRANSFER\05-fri\30181_Nuo Lai\FEEDBACK_Vital_info_Visma_2.ppt</a:t>
            </a:r>
          </a:p>
        </p:txBody>
      </p:sp>
      <p:sp>
        <p:nvSpPr>
          <p:cNvPr id="1028" name="BODY TEXT"/>
          <p:cNvSpPr>
            <a:spLocks noGrp="1" noChangeArrowheads="1"/>
          </p:cNvSpPr>
          <p:nvPr>
            <p:ph type="body" idx="1"/>
            <p:custDataLst>
              <p:tags r:id="rId21"/>
            </p:custDataLst>
          </p:nvPr>
        </p:nvSpPr>
        <p:spPr bwMode="auto">
          <a:xfrm>
            <a:off x="311729" y="1627938"/>
            <a:ext cx="8516216" cy="42920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0208" rIns="0" bIns="4020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zh-TW" smtClean="0"/>
              <a:t>First level</a:t>
            </a:r>
          </a:p>
          <a:p>
            <a:pPr lvl="1"/>
            <a:r>
              <a:rPr lang="en-GB" altLang="zh-TW" smtClean="0"/>
              <a:t>Second level</a:t>
            </a:r>
          </a:p>
          <a:p>
            <a:pPr lvl="2"/>
            <a:r>
              <a:rPr lang="en-GB" altLang="zh-TW" smtClean="0"/>
              <a:t>Third level</a:t>
            </a:r>
          </a:p>
          <a:p>
            <a:pPr lvl="3"/>
            <a:r>
              <a:rPr lang="en-GB" altLang="zh-TW" smtClean="0"/>
              <a:t>Fourth level</a:t>
            </a:r>
          </a:p>
          <a:p>
            <a:pPr lvl="4"/>
            <a:r>
              <a:rPr lang="en-GB" altLang="zh-TW" smtClean="0"/>
              <a:t>Fifth level</a:t>
            </a:r>
          </a:p>
        </p:txBody>
      </p:sp>
      <p:sp>
        <p:nvSpPr>
          <p:cNvPr id="1012749" name="PAGE NUMBER"/>
          <p:cNvSpPr>
            <a:spLocks noGrp="1" noChangeArrowheads="1"/>
          </p:cNvSpPr>
          <p:nvPr>
            <p:ph type="sldNum" sz="quarter" idx="4"/>
            <p:custDataLst>
              <p:tags r:id="rId22"/>
            </p:custDataLst>
          </p:nvPr>
        </p:nvSpPr>
        <p:spPr bwMode="black">
          <a:xfrm>
            <a:off x="8353137" y="6348566"/>
            <a:ext cx="375228" cy="38677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020" b="0">
                <a:solidFill>
                  <a:schemeClr val="tx2"/>
                </a:solidFill>
                <a:ea typeface="Arial Unicode MS" pitchFamily="34" charset="-128"/>
                <a:cs typeface="Arial Unicode MS" pitchFamily="34" charset="-128"/>
              </a:defRPr>
            </a:lvl1pPr>
          </a:lstStyle>
          <a:p>
            <a:pPr>
              <a:defRPr/>
            </a:pPr>
            <a:r>
              <a:rPr lang="en-GB" altLang="zh-TW" dirty="0">
                <a:solidFill>
                  <a:srgbClr val="14446C"/>
                </a:solidFill>
              </a:rPr>
              <a:t> </a:t>
            </a:r>
            <a:fld id="{79847DCE-F0EB-43B5-8510-A7B0382C615E}" type="slidenum">
              <a:rPr lang="en-GB" altLang="zh-TW">
                <a:solidFill>
                  <a:srgbClr val="14446C"/>
                </a:solidFill>
              </a:rPr>
              <a:pPr>
                <a:defRPr/>
              </a:pPr>
              <a:t>‹#›</a:t>
            </a:fld>
            <a:endParaRPr lang="en-GB" altLang="zh-TW" dirty="0">
              <a:solidFill>
                <a:srgbClr val="14446C"/>
              </a:solidFill>
            </a:endParaRPr>
          </a:p>
        </p:txBody>
      </p:sp>
      <p:grpSp>
        <p:nvGrpSpPr>
          <p:cNvPr id="1030" name="Group 97"/>
          <p:cNvGrpSpPr>
            <a:grpSpLocks/>
          </p:cNvGrpSpPr>
          <p:nvPr/>
        </p:nvGrpSpPr>
        <p:grpSpPr bwMode="auto">
          <a:xfrm>
            <a:off x="-1014547" y="344928"/>
            <a:ext cx="877456" cy="4469534"/>
            <a:chOff x="-703" y="239"/>
            <a:chExt cx="608" cy="3097"/>
          </a:xfrm>
        </p:grpSpPr>
        <p:sp>
          <p:nvSpPr>
            <p:cNvPr id="1035" name="LAYOUT HEADER"/>
            <p:cNvSpPr txBox="1">
              <a:spLocks noChangeArrowheads="1"/>
            </p:cNvSpPr>
            <p:nvPr userDrawn="1">
              <p:custDataLst>
                <p:tags r:id="rId23"/>
              </p:custDataLst>
            </p:nvPr>
          </p:nvSpPr>
          <p:spPr bwMode="auto">
            <a:xfrm>
              <a:off x="-703" y="239"/>
              <a:ext cx="599" cy="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38100"/>
            <a:lstStyle>
              <a:lvl1pPr>
                <a:defRPr sz="1300" b="1">
                  <a:solidFill>
                    <a:srgbClr val="164463"/>
                  </a:solidFill>
                  <a:latin typeface="Arial" pitchFamily="34" charset="0"/>
                  <a:ea typeface="Batang" pitchFamily="18" charset="-127"/>
                </a:defRPr>
              </a:lvl1pPr>
              <a:lvl2pPr marL="742950" indent="-285750">
                <a:defRPr sz="1300" b="1">
                  <a:solidFill>
                    <a:srgbClr val="164463"/>
                  </a:solidFill>
                  <a:latin typeface="Arial" pitchFamily="34" charset="0"/>
                  <a:ea typeface="Batang" pitchFamily="18" charset="-127"/>
                </a:defRPr>
              </a:lvl2pPr>
              <a:lvl3pPr marL="1143000" indent="-228600">
                <a:defRPr sz="1300" b="1">
                  <a:solidFill>
                    <a:srgbClr val="164463"/>
                  </a:solidFill>
                  <a:latin typeface="Arial" pitchFamily="34" charset="0"/>
                  <a:ea typeface="Batang" pitchFamily="18" charset="-127"/>
                </a:defRPr>
              </a:lvl3pPr>
              <a:lvl4pPr marL="1600200" indent="-228600">
                <a:defRPr sz="1300" b="1">
                  <a:solidFill>
                    <a:srgbClr val="164463"/>
                  </a:solidFill>
                  <a:latin typeface="Arial" pitchFamily="34" charset="0"/>
                  <a:ea typeface="Batang" pitchFamily="18" charset="-127"/>
                </a:defRPr>
              </a:lvl4pPr>
              <a:lvl5pPr marL="2057400" indent="-228600">
                <a:defRPr sz="1300" b="1">
                  <a:solidFill>
                    <a:srgbClr val="164463"/>
                  </a:solidFill>
                  <a:latin typeface="Arial" pitchFamily="34" charset="0"/>
                  <a:ea typeface="Batang" pitchFamily="18" charset="-127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1300" b="1">
                  <a:solidFill>
                    <a:srgbClr val="164463"/>
                  </a:solidFill>
                  <a:latin typeface="Arial" pitchFamily="34" charset="0"/>
                  <a:ea typeface="Batang" pitchFamily="18" charset="-127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1300" b="1">
                  <a:solidFill>
                    <a:srgbClr val="164463"/>
                  </a:solidFill>
                  <a:latin typeface="Arial" pitchFamily="34" charset="0"/>
                  <a:ea typeface="Batang" pitchFamily="18" charset="-127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1300" b="1">
                  <a:solidFill>
                    <a:srgbClr val="164463"/>
                  </a:solidFill>
                  <a:latin typeface="Arial" pitchFamily="34" charset="0"/>
                  <a:ea typeface="Batang" pitchFamily="18" charset="-127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1300" b="1">
                  <a:solidFill>
                    <a:srgbClr val="164463"/>
                  </a:solidFill>
                  <a:latin typeface="Arial" pitchFamily="34" charset="0"/>
                  <a:ea typeface="Batang" pitchFamily="18" charset="-127"/>
                </a:defRPr>
              </a:lvl9pPr>
            </a:lstStyle>
            <a:p>
              <a:pPr>
                <a:defRPr/>
              </a:pPr>
              <a:r>
                <a:rPr lang="en-GB" sz="1020" dirty="0" smtClea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Colour palette</a:t>
              </a:r>
            </a:p>
          </p:txBody>
        </p:sp>
        <p:sp>
          <p:nvSpPr>
            <p:cNvPr id="1036" name="Rectangle 75"/>
            <p:cNvSpPr>
              <a:spLocks noChangeArrowheads="1"/>
            </p:cNvSpPr>
            <p:nvPr userDrawn="1"/>
          </p:nvSpPr>
          <p:spPr bwMode="gray">
            <a:xfrm rot="-5400000">
              <a:off x="-714" y="2329"/>
              <a:ext cx="275" cy="254"/>
            </a:xfrm>
            <a:prstGeom prst="rect">
              <a:avLst/>
            </a:pr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lIns="0" tIns="0" rIns="0" bIns="0" anchor="ctr"/>
            <a:lstStyle/>
            <a:p>
              <a:pPr algn="ctr"/>
              <a:r>
                <a:rPr lang="en-GB" sz="714" dirty="0" smtClean="0">
                  <a:solidFill>
                    <a:srgbClr val="000000"/>
                  </a:solidFill>
                </a:rPr>
                <a:t>236</a:t>
              </a:r>
            </a:p>
            <a:p>
              <a:pPr algn="ctr"/>
              <a:r>
                <a:rPr lang="en-GB" sz="714" dirty="0" smtClean="0">
                  <a:solidFill>
                    <a:srgbClr val="000000"/>
                  </a:solidFill>
                </a:rPr>
                <a:t>236</a:t>
              </a:r>
            </a:p>
            <a:p>
              <a:pPr algn="ctr"/>
              <a:r>
                <a:rPr lang="en-GB" sz="714" dirty="0" smtClean="0">
                  <a:solidFill>
                    <a:srgbClr val="000000"/>
                  </a:solidFill>
                </a:rPr>
                <a:t>236</a:t>
              </a:r>
            </a:p>
          </p:txBody>
        </p:sp>
        <p:sp>
          <p:nvSpPr>
            <p:cNvPr id="1037" name="Rectangle 76"/>
            <p:cNvSpPr>
              <a:spLocks noChangeArrowheads="1"/>
            </p:cNvSpPr>
            <p:nvPr userDrawn="1"/>
          </p:nvSpPr>
          <p:spPr bwMode="gray">
            <a:xfrm rot="-5400000">
              <a:off x="-713" y="1212"/>
              <a:ext cx="274" cy="25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lIns="0" tIns="0" rIns="0" bIns="0" anchor="ctr"/>
            <a:lstStyle/>
            <a:p>
              <a:pPr algn="ctr"/>
              <a:r>
                <a:rPr lang="en-GB" sz="714" dirty="0" smtClean="0">
                  <a:solidFill>
                    <a:srgbClr val="FFFFFF"/>
                  </a:solidFill>
                </a:rPr>
                <a:t>0</a:t>
              </a:r>
            </a:p>
            <a:p>
              <a:pPr algn="ctr"/>
              <a:r>
                <a:rPr lang="en-GB" sz="714" dirty="0" smtClean="0">
                  <a:solidFill>
                    <a:srgbClr val="FFFFFF"/>
                  </a:solidFill>
                </a:rPr>
                <a:t>0</a:t>
              </a:r>
            </a:p>
            <a:p>
              <a:pPr algn="ctr"/>
              <a:r>
                <a:rPr lang="en-GB" sz="714" dirty="0" smtClean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1038" name="Rectangle 77"/>
            <p:cNvSpPr>
              <a:spLocks noChangeArrowheads="1"/>
            </p:cNvSpPr>
            <p:nvPr userDrawn="1"/>
          </p:nvSpPr>
          <p:spPr bwMode="gray">
            <a:xfrm rot="-5400000">
              <a:off x="-713" y="469"/>
              <a:ext cx="274" cy="25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lIns="0" tIns="0" rIns="0" bIns="0" anchor="ctr"/>
            <a:lstStyle/>
            <a:p>
              <a:pPr algn="ctr"/>
              <a:r>
                <a:rPr lang="en-GB" sz="714" dirty="0" smtClean="0">
                  <a:solidFill>
                    <a:srgbClr val="FFFFFF"/>
                  </a:solidFill>
                </a:rPr>
                <a:t>35</a:t>
              </a:r>
            </a:p>
            <a:p>
              <a:pPr algn="ctr"/>
              <a:r>
                <a:rPr lang="en-GB" sz="714" dirty="0" smtClean="0">
                  <a:solidFill>
                    <a:srgbClr val="FFFFFF"/>
                  </a:solidFill>
                </a:rPr>
                <a:t>108</a:t>
              </a:r>
            </a:p>
            <a:p>
              <a:pPr algn="ctr"/>
              <a:r>
                <a:rPr lang="en-GB" sz="714" dirty="0" smtClean="0">
                  <a:solidFill>
                    <a:srgbClr val="FFFFFF"/>
                  </a:solidFill>
                </a:rPr>
                <a:t>176</a:t>
              </a:r>
            </a:p>
          </p:txBody>
        </p:sp>
        <p:sp>
          <p:nvSpPr>
            <p:cNvPr id="1039" name="Rectangle 78"/>
            <p:cNvSpPr>
              <a:spLocks noChangeArrowheads="1"/>
            </p:cNvSpPr>
            <p:nvPr userDrawn="1"/>
          </p:nvSpPr>
          <p:spPr bwMode="gray">
            <a:xfrm rot="-5400000">
              <a:off x="-714" y="2701"/>
              <a:ext cx="275" cy="254"/>
            </a:xfrm>
            <a:prstGeom prst="rect">
              <a:avLst/>
            </a:prstGeom>
            <a:solidFill>
              <a:srgbClr val="B5CE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lIns="0" tIns="0" rIns="0" bIns="0" anchor="ctr"/>
            <a:lstStyle/>
            <a:p>
              <a:pPr algn="ctr"/>
              <a:r>
                <a:rPr lang="en-GB" sz="714" dirty="0" smtClean="0">
                  <a:solidFill>
                    <a:srgbClr val="000000"/>
                  </a:solidFill>
                </a:rPr>
                <a:t>181</a:t>
              </a:r>
            </a:p>
            <a:p>
              <a:pPr algn="ctr"/>
              <a:r>
                <a:rPr lang="en-GB" sz="714" dirty="0" smtClean="0">
                  <a:solidFill>
                    <a:srgbClr val="000000"/>
                  </a:solidFill>
                </a:rPr>
                <a:t>206</a:t>
              </a:r>
            </a:p>
            <a:p>
              <a:pPr algn="ctr"/>
              <a:r>
                <a:rPr lang="en-GB" sz="714" dirty="0" smtClean="0">
                  <a:solidFill>
                    <a:srgbClr val="000000"/>
                  </a:solidFill>
                </a:rPr>
                <a:t>229</a:t>
              </a:r>
            </a:p>
          </p:txBody>
        </p:sp>
        <p:sp>
          <p:nvSpPr>
            <p:cNvPr id="1040" name="Rectangle 79"/>
            <p:cNvSpPr>
              <a:spLocks noChangeArrowheads="1"/>
            </p:cNvSpPr>
            <p:nvPr userDrawn="1"/>
          </p:nvSpPr>
          <p:spPr bwMode="gray">
            <a:xfrm rot="-5400000">
              <a:off x="-714" y="840"/>
              <a:ext cx="275" cy="254"/>
            </a:xfrm>
            <a:prstGeom prst="rect">
              <a:avLst/>
            </a:prstGeom>
            <a:solidFill>
              <a:schemeClr val="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lIns="0" tIns="0" rIns="0" bIns="0" anchor="ctr"/>
            <a:lstStyle/>
            <a:p>
              <a:pPr algn="ctr"/>
              <a:r>
                <a:rPr lang="en-GB" sz="714" dirty="0" smtClean="0">
                  <a:solidFill>
                    <a:srgbClr val="FFFFFF"/>
                  </a:solidFill>
                </a:rPr>
                <a:t>151</a:t>
              </a:r>
            </a:p>
            <a:p>
              <a:pPr algn="ctr"/>
              <a:r>
                <a:rPr lang="en-GB" sz="714" dirty="0" smtClean="0">
                  <a:solidFill>
                    <a:srgbClr val="FFFFFF"/>
                  </a:solidFill>
                </a:rPr>
                <a:t>151</a:t>
              </a:r>
            </a:p>
            <a:p>
              <a:pPr algn="ctr"/>
              <a:r>
                <a:rPr lang="en-GB" sz="714" dirty="0" smtClean="0">
                  <a:solidFill>
                    <a:srgbClr val="FFFFFF"/>
                  </a:solidFill>
                </a:rPr>
                <a:t>151</a:t>
              </a:r>
            </a:p>
          </p:txBody>
        </p:sp>
        <p:sp>
          <p:nvSpPr>
            <p:cNvPr id="1041" name="Rectangle 80"/>
            <p:cNvSpPr>
              <a:spLocks noChangeArrowheads="1"/>
            </p:cNvSpPr>
            <p:nvPr userDrawn="1"/>
          </p:nvSpPr>
          <p:spPr bwMode="gray">
            <a:xfrm rot="-5400000">
              <a:off x="-713" y="1956"/>
              <a:ext cx="274" cy="254"/>
            </a:xfrm>
            <a:prstGeom prst="rect">
              <a:avLst/>
            </a:prstGeom>
            <a:solidFill>
              <a:srgbClr val="D60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lIns="0" tIns="0" rIns="0" bIns="0" anchor="ctr"/>
            <a:lstStyle/>
            <a:p>
              <a:pPr algn="ctr"/>
              <a:r>
                <a:rPr lang="en-GB" sz="714" dirty="0" smtClean="0">
                  <a:solidFill>
                    <a:srgbClr val="FFFFFF"/>
                  </a:solidFill>
                </a:rPr>
                <a:t>214</a:t>
              </a:r>
            </a:p>
            <a:p>
              <a:pPr algn="ctr"/>
              <a:r>
                <a:rPr lang="en-GB" sz="714" dirty="0" smtClean="0">
                  <a:solidFill>
                    <a:srgbClr val="FFFFFF"/>
                  </a:solidFill>
                </a:rPr>
                <a:t>5</a:t>
              </a:r>
            </a:p>
            <a:p>
              <a:pPr algn="ctr"/>
              <a:r>
                <a:rPr lang="en-GB" sz="714" dirty="0" smtClean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1042" name="Rectangle 81"/>
            <p:cNvSpPr>
              <a:spLocks noChangeArrowheads="1"/>
            </p:cNvSpPr>
            <p:nvPr userDrawn="1"/>
          </p:nvSpPr>
          <p:spPr bwMode="gray">
            <a:xfrm rot="-5400000">
              <a:off x="-713" y="3072"/>
              <a:ext cx="274" cy="254"/>
            </a:xfrm>
            <a:prstGeom prst="rect">
              <a:avLst/>
            </a:prstGeom>
            <a:solidFill>
              <a:srgbClr val="4981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lIns="0" tIns="0" rIns="0" bIns="0" anchor="ctr"/>
            <a:lstStyle/>
            <a:p>
              <a:pPr algn="ctr"/>
              <a:r>
                <a:rPr lang="en-GB" sz="714" dirty="0" smtClean="0">
                  <a:solidFill>
                    <a:srgbClr val="FFFFFF"/>
                  </a:solidFill>
                </a:rPr>
                <a:t>73</a:t>
              </a:r>
            </a:p>
            <a:p>
              <a:pPr algn="ctr"/>
              <a:r>
                <a:rPr lang="en-GB" sz="714" dirty="0" smtClean="0">
                  <a:solidFill>
                    <a:srgbClr val="FFFFFF"/>
                  </a:solidFill>
                </a:rPr>
                <a:t>129</a:t>
              </a:r>
            </a:p>
            <a:p>
              <a:pPr algn="ctr"/>
              <a:r>
                <a:rPr lang="en-GB" sz="714" dirty="0" smtClean="0">
                  <a:solidFill>
                    <a:srgbClr val="FFFFFF"/>
                  </a:solidFill>
                </a:rPr>
                <a:t>191</a:t>
              </a:r>
            </a:p>
          </p:txBody>
        </p:sp>
        <p:sp>
          <p:nvSpPr>
            <p:cNvPr id="1043" name="Rectangle 82"/>
            <p:cNvSpPr>
              <a:spLocks noChangeArrowheads="1"/>
            </p:cNvSpPr>
            <p:nvPr userDrawn="1"/>
          </p:nvSpPr>
          <p:spPr bwMode="gray">
            <a:xfrm rot="-5400000">
              <a:off x="-713" y="1584"/>
              <a:ext cx="274" cy="25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lIns="0" tIns="0" rIns="0" bIns="0" anchor="ctr"/>
            <a:lstStyle/>
            <a:p>
              <a:pPr algn="ctr"/>
              <a:r>
                <a:rPr lang="en-GB" sz="714" dirty="0" smtClean="0">
                  <a:solidFill>
                    <a:srgbClr val="FFFFFF"/>
                  </a:solidFill>
                </a:rPr>
                <a:t>20</a:t>
              </a:r>
            </a:p>
            <a:p>
              <a:pPr algn="ctr"/>
              <a:r>
                <a:rPr lang="en-GB" sz="714" dirty="0" smtClean="0">
                  <a:solidFill>
                    <a:srgbClr val="FFFFFF"/>
                  </a:solidFill>
                </a:rPr>
                <a:t>68</a:t>
              </a:r>
            </a:p>
            <a:p>
              <a:pPr algn="ctr"/>
              <a:r>
                <a:rPr lang="en-GB" sz="714" dirty="0" smtClean="0">
                  <a:solidFill>
                    <a:srgbClr val="FFFFFF"/>
                  </a:solidFill>
                </a:rPr>
                <a:t>108</a:t>
              </a:r>
            </a:p>
          </p:txBody>
        </p:sp>
        <p:sp>
          <p:nvSpPr>
            <p:cNvPr id="1044" name="Rectangle 83"/>
            <p:cNvSpPr>
              <a:spLocks noChangeArrowheads="1"/>
            </p:cNvSpPr>
            <p:nvPr userDrawn="1"/>
          </p:nvSpPr>
          <p:spPr bwMode="gray">
            <a:xfrm rot="-5400000">
              <a:off x="-360" y="2329"/>
              <a:ext cx="275" cy="254"/>
            </a:xfrm>
            <a:prstGeom prst="rect">
              <a:avLst/>
            </a:prstGeom>
            <a:solidFill>
              <a:srgbClr val="4095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lIns="0" tIns="0" rIns="0" bIns="0" anchor="ctr"/>
            <a:lstStyle/>
            <a:p>
              <a:pPr algn="ctr"/>
              <a:r>
                <a:rPr lang="en-GB" sz="714" dirty="0" smtClean="0">
                  <a:solidFill>
                    <a:srgbClr val="FFFFFF"/>
                  </a:solidFill>
                </a:rPr>
                <a:t>64</a:t>
              </a:r>
            </a:p>
            <a:p>
              <a:pPr algn="ctr"/>
              <a:r>
                <a:rPr lang="en-GB" sz="714" dirty="0" smtClean="0">
                  <a:solidFill>
                    <a:srgbClr val="FFFFFF"/>
                  </a:solidFill>
                </a:rPr>
                <a:t>149</a:t>
              </a:r>
            </a:p>
            <a:p>
              <a:pPr algn="ctr"/>
              <a:r>
                <a:rPr lang="en-GB" sz="714" dirty="0" smtClean="0">
                  <a:solidFill>
                    <a:srgbClr val="FFFFFF"/>
                  </a:solidFill>
                </a:rPr>
                <a:t>220</a:t>
              </a:r>
            </a:p>
          </p:txBody>
        </p:sp>
        <p:sp>
          <p:nvSpPr>
            <p:cNvPr id="1045" name="Rectangle 84"/>
            <p:cNvSpPr>
              <a:spLocks noChangeArrowheads="1"/>
            </p:cNvSpPr>
            <p:nvPr userDrawn="1"/>
          </p:nvSpPr>
          <p:spPr bwMode="gray">
            <a:xfrm rot="-5400000">
              <a:off x="-359" y="1212"/>
              <a:ext cx="274" cy="25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lIns="0" tIns="0" rIns="0" bIns="0" anchor="ctr"/>
            <a:lstStyle/>
            <a:p>
              <a:pPr algn="ctr"/>
              <a:r>
                <a:rPr lang="en-GB" sz="714" dirty="0" smtClean="0">
                  <a:solidFill>
                    <a:srgbClr val="000000"/>
                  </a:solidFill>
                </a:rPr>
                <a:t>226</a:t>
              </a:r>
            </a:p>
            <a:p>
              <a:pPr algn="ctr"/>
              <a:r>
                <a:rPr lang="en-GB" sz="714" dirty="0" smtClean="0">
                  <a:solidFill>
                    <a:srgbClr val="000000"/>
                  </a:solidFill>
                </a:rPr>
                <a:t>229</a:t>
              </a:r>
            </a:p>
            <a:p>
              <a:pPr algn="ctr"/>
              <a:r>
                <a:rPr lang="en-GB" sz="714" dirty="0" smtClean="0">
                  <a:solidFill>
                    <a:srgbClr val="000000"/>
                  </a:solidFill>
                </a:rPr>
                <a:t>234</a:t>
              </a:r>
            </a:p>
          </p:txBody>
        </p:sp>
        <p:sp>
          <p:nvSpPr>
            <p:cNvPr id="1046" name="Rectangle 85"/>
            <p:cNvSpPr>
              <a:spLocks noChangeArrowheads="1"/>
            </p:cNvSpPr>
            <p:nvPr userDrawn="1"/>
          </p:nvSpPr>
          <p:spPr bwMode="gray">
            <a:xfrm rot="-5400000">
              <a:off x="-359" y="469"/>
              <a:ext cx="274" cy="25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lIns="0" tIns="0" rIns="0" bIns="0" anchor="ctr"/>
            <a:lstStyle/>
            <a:p>
              <a:pPr algn="ctr"/>
              <a:r>
                <a:rPr lang="en-GB" sz="714" dirty="0" smtClean="0">
                  <a:solidFill>
                    <a:srgbClr val="000000"/>
                  </a:solidFill>
                </a:rPr>
                <a:t>204</a:t>
              </a:r>
            </a:p>
            <a:p>
              <a:pPr algn="ctr"/>
              <a:r>
                <a:rPr lang="en-GB" sz="714" dirty="0" smtClean="0">
                  <a:solidFill>
                    <a:srgbClr val="000000"/>
                  </a:solidFill>
                </a:rPr>
                <a:t>221</a:t>
              </a:r>
            </a:p>
            <a:p>
              <a:pPr algn="ctr"/>
              <a:r>
                <a:rPr lang="en-GB" sz="714" dirty="0" smtClean="0">
                  <a:solidFill>
                    <a:srgbClr val="000000"/>
                  </a:solidFill>
                </a:rPr>
                <a:t>237</a:t>
              </a:r>
            </a:p>
          </p:txBody>
        </p:sp>
        <p:sp>
          <p:nvSpPr>
            <p:cNvPr id="1047" name="Rectangle 86"/>
            <p:cNvSpPr>
              <a:spLocks noChangeArrowheads="1"/>
            </p:cNvSpPr>
            <p:nvPr userDrawn="1"/>
          </p:nvSpPr>
          <p:spPr bwMode="gray">
            <a:xfrm rot="-5400000">
              <a:off x="-360" y="2701"/>
              <a:ext cx="275" cy="254"/>
            </a:xfrm>
            <a:prstGeom prst="rect">
              <a:avLst/>
            </a:prstGeom>
            <a:solidFill>
              <a:srgbClr val="F8CD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lIns="0" tIns="0" rIns="0" bIns="0" anchor="ctr"/>
            <a:lstStyle/>
            <a:p>
              <a:pPr algn="ctr"/>
              <a:r>
                <a:rPr lang="en-GB" sz="714" dirty="0" smtClean="0">
                  <a:solidFill>
                    <a:srgbClr val="000000"/>
                  </a:solidFill>
                </a:rPr>
                <a:t>248</a:t>
              </a:r>
            </a:p>
            <a:p>
              <a:pPr algn="ctr"/>
              <a:r>
                <a:rPr lang="en-GB" sz="714" dirty="0" smtClean="0">
                  <a:solidFill>
                    <a:srgbClr val="000000"/>
                  </a:solidFill>
                </a:rPr>
                <a:t>205</a:t>
              </a:r>
            </a:p>
            <a:p>
              <a:pPr algn="ctr"/>
              <a:r>
                <a:rPr lang="en-GB" sz="714" dirty="0" smtClean="0">
                  <a:solidFill>
                    <a:srgbClr val="000000"/>
                  </a:solidFill>
                </a:rPr>
                <a:t>162</a:t>
              </a:r>
            </a:p>
          </p:txBody>
        </p:sp>
        <p:sp>
          <p:nvSpPr>
            <p:cNvPr id="1048" name="Rectangle 87"/>
            <p:cNvSpPr>
              <a:spLocks noChangeArrowheads="1"/>
            </p:cNvSpPr>
            <p:nvPr userDrawn="1"/>
          </p:nvSpPr>
          <p:spPr bwMode="gray">
            <a:xfrm rot="-5400000">
              <a:off x="-360" y="840"/>
              <a:ext cx="275" cy="254"/>
            </a:xfrm>
            <a:prstGeom prst="rect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lIns="0" tIns="0" rIns="0" bIns="0" anchor="ctr"/>
            <a:lstStyle/>
            <a:p>
              <a:pPr algn="ctr"/>
              <a:r>
                <a:rPr lang="en-GB" sz="714" dirty="0" smtClean="0">
                  <a:solidFill>
                    <a:srgbClr val="000000"/>
                  </a:solidFill>
                </a:rPr>
                <a:t>240</a:t>
              </a:r>
            </a:p>
            <a:p>
              <a:pPr algn="ctr"/>
              <a:r>
                <a:rPr lang="en-GB" sz="714" dirty="0" smtClean="0">
                  <a:solidFill>
                    <a:srgbClr val="000000"/>
                  </a:solidFill>
                </a:rPr>
                <a:t>146</a:t>
              </a:r>
            </a:p>
            <a:p>
              <a:pPr algn="ctr"/>
              <a:r>
                <a:rPr lang="en-GB" sz="714" dirty="0" smtClean="0">
                  <a:solidFill>
                    <a:srgbClr val="000000"/>
                  </a:solidFill>
                </a:rPr>
                <a:t>48</a:t>
              </a:r>
            </a:p>
          </p:txBody>
        </p:sp>
        <p:sp>
          <p:nvSpPr>
            <p:cNvPr id="1049" name="Rectangle 88"/>
            <p:cNvSpPr>
              <a:spLocks noChangeArrowheads="1"/>
            </p:cNvSpPr>
            <p:nvPr userDrawn="1"/>
          </p:nvSpPr>
          <p:spPr bwMode="gray">
            <a:xfrm rot="-5400000">
              <a:off x="-359" y="1956"/>
              <a:ext cx="274" cy="254"/>
            </a:xfrm>
            <a:prstGeom prst="rect">
              <a:avLst/>
            </a:prstGeom>
            <a:solidFill>
              <a:srgbClr val="A6AF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lIns="0" tIns="0" rIns="0" bIns="0" anchor="ctr"/>
            <a:lstStyle/>
            <a:p>
              <a:pPr algn="ctr"/>
              <a:r>
                <a:rPr lang="en-GB" sz="714" dirty="0" smtClean="0">
                  <a:solidFill>
                    <a:srgbClr val="000000"/>
                  </a:solidFill>
                </a:rPr>
                <a:t>166</a:t>
              </a:r>
            </a:p>
            <a:p>
              <a:pPr algn="ctr"/>
              <a:r>
                <a:rPr lang="en-GB" sz="714" dirty="0" smtClean="0">
                  <a:solidFill>
                    <a:srgbClr val="000000"/>
                  </a:solidFill>
                </a:rPr>
                <a:t>175</a:t>
              </a:r>
            </a:p>
            <a:p>
              <a:pPr algn="ctr"/>
              <a:r>
                <a:rPr lang="en-GB" sz="714" dirty="0" smtClean="0">
                  <a:solidFill>
                    <a:srgbClr val="000000"/>
                  </a:solidFill>
                </a:rPr>
                <a:t>190</a:t>
              </a:r>
            </a:p>
          </p:txBody>
        </p:sp>
        <p:sp>
          <p:nvSpPr>
            <p:cNvPr id="1050" name="Rectangle 89"/>
            <p:cNvSpPr>
              <a:spLocks noChangeArrowheads="1"/>
            </p:cNvSpPr>
            <p:nvPr userDrawn="1"/>
          </p:nvSpPr>
          <p:spPr bwMode="gray">
            <a:xfrm rot="-5400000">
              <a:off x="-359" y="3072"/>
              <a:ext cx="274" cy="254"/>
            </a:xfrm>
            <a:prstGeom prst="rect">
              <a:avLst/>
            </a:prstGeom>
            <a:solidFill>
              <a:srgbClr val="E18E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lIns="0" tIns="0" rIns="0" bIns="0" anchor="ctr"/>
            <a:lstStyle/>
            <a:p>
              <a:pPr algn="ctr"/>
              <a:r>
                <a:rPr lang="en-GB" sz="714" dirty="0" smtClean="0">
                  <a:solidFill>
                    <a:srgbClr val="000000"/>
                  </a:solidFill>
                </a:rPr>
                <a:t>225</a:t>
              </a:r>
            </a:p>
            <a:p>
              <a:pPr algn="ctr"/>
              <a:r>
                <a:rPr lang="en-GB" sz="714" dirty="0" smtClean="0">
                  <a:solidFill>
                    <a:srgbClr val="000000"/>
                  </a:solidFill>
                </a:rPr>
                <a:t>142</a:t>
              </a:r>
            </a:p>
            <a:p>
              <a:pPr algn="ctr"/>
              <a:r>
                <a:rPr lang="en-GB" sz="714" dirty="0" smtClean="0">
                  <a:solidFill>
                    <a:srgbClr val="000000"/>
                  </a:solidFill>
                </a:rPr>
                <a:t>139</a:t>
              </a:r>
            </a:p>
          </p:txBody>
        </p:sp>
        <p:sp>
          <p:nvSpPr>
            <p:cNvPr id="1051" name="Rectangle 90"/>
            <p:cNvSpPr>
              <a:spLocks noChangeArrowheads="1"/>
            </p:cNvSpPr>
            <p:nvPr userDrawn="1"/>
          </p:nvSpPr>
          <p:spPr bwMode="gray">
            <a:xfrm rot="-5400000">
              <a:off x="-359" y="1584"/>
              <a:ext cx="274" cy="254"/>
            </a:xfrm>
            <a:prstGeom prst="rect">
              <a:avLst/>
            </a:prstGeom>
            <a:solidFill>
              <a:srgbClr val="8BAE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lIns="0" tIns="0" rIns="0" bIns="0" anchor="ctr"/>
            <a:lstStyle/>
            <a:p>
              <a:pPr algn="ctr"/>
              <a:r>
                <a:rPr lang="en-GB" sz="714" dirty="0" smtClean="0">
                  <a:solidFill>
                    <a:srgbClr val="000000"/>
                  </a:solidFill>
                </a:rPr>
                <a:t>139</a:t>
              </a:r>
            </a:p>
            <a:p>
              <a:pPr algn="ctr"/>
              <a:r>
                <a:rPr lang="en-GB" sz="714" dirty="0" smtClean="0">
                  <a:solidFill>
                    <a:srgbClr val="000000"/>
                  </a:solidFill>
                </a:rPr>
                <a:t>174</a:t>
              </a:r>
            </a:p>
            <a:p>
              <a:pPr algn="ctr"/>
              <a:r>
                <a:rPr lang="en-GB" sz="714" dirty="0" smtClean="0">
                  <a:solidFill>
                    <a:srgbClr val="000000"/>
                  </a:solidFill>
                </a:rPr>
                <a:t>214</a:t>
              </a:r>
            </a:p>
          </p:txBody>
        </p:sp>
      </p:grpSp>
      <p:grpSp>
        <p:nvGrpSpPr>
          <p:cNvPr id="1031" name="Group 96"/>
          <p:cNvGrpSpPr>
            <a:grpSpLocks/>
          </p:cNvGrpSpPr>
          <p:nvPr/>
        </p:nvGrpSpPr>
        <p:grpSpPr bwMode="auto">
          <a:xfrm>
            <a:off x="311728" y="990061"/>
            <a:ext cx="8509000" cy="5195455"/>
            <a:chOff x="0" y="686"/>
            <a:chExt cx="6336" cy="3600"/>
          </a:xfrm>
        </p:grpSpPr>
        <p:sp>
          <p:nvSpPr>
            <p:cNvPr id="1033" name="Line 92"/>
            <p:cNvSpPr>
              <a:spLocks noChangeShapeType="1"/>
            </p:cNvSpPr>
            <p:nvPr userDrawn="1"/>
          </p:nvSpPr>
          <p:spPr bwMode="auto">
            <a:xfrm>
              <a:off x="0" y="686"/>
              <a:ext cx="6336" cy="0"/>
            </a:xfrm>
            <a:prstGeom prst="line">
              <a:avLst/>
            </a:prstGeom>
            <a:noFill/>
            <a:ln w="38100">
              <a:solidFill>
                <a:schemeClr val="tx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ru-RU" sz="1837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034" name="Line 93"/>
            <p:cNvSpPr>
              <a:spLocks noChangeShapeType="1"/>
            </p:cNvSpPr>
            <p:nvPr userDrawn="1"/>
          </p:nvSpPr>
          <p:spPr bwMode="auto">
            <a:xfrm>
              <a:off x="0" y="4286"/>
              <a:ext cx="6336" cy="0"/>
            </a:xfrm>
            <a:prstGeom prst="line">
              <a:avLst/>
            </a:prstGeom>
            <a:noFill/>
            <a:ln w="38100">
              <a:solidFill>
                <a:schemeClr val="tx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ru-RU" sz="1837" dirty="0" smtClean="0">
                <a:solidFill>
                  <a:srgbClr val="000000"/>
                </a:solidFill>
              </a:endParaRPr>
            </a:p>
          </p:txBody>
        </p:sp>
      </p:grpSp>
      <p:pic>
        <p:nvPicPr>
          <p:cNvPr id="29" name="Рисунок 28"/>
          <p:cNvPicPr>
            <a:picLocks noChangeAspect="1"/>
          </p:cNvPicPr>
          <p:nvPr userDrawn="1"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728" y="6291476"/>
            <a:ext cx="1532567" cy="396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8339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  <p:sldLayoutId id="2147483832" r:id="rId4"/>
    <p:sldLayoutId id="2147483833" r:id="rId5"/>
    <p:sldLayoutId id="2147483834" r:id="rId6"/>
    <p:sldLayoutId id="2147483835" r:id="rId7"/>
    <p:sldLayoutId id="2147483836" r:id="rId8"/>
    <p:sldLayoutId id="2147483837" r:id="rId9"/>
    <p:sldLayoutId id="2147483838" r:id="rId10"/>
    <p:sldLayoutId id="2147483839" r:id="rId11"/>
    <p:sldLayoutId id="2147483840" r:id="rId12"/>
    <p:sldLayoutId id="2147483841" r:id="rId13"/>
    <p:sldLayoutId id="2147483842" r:id="rId1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9877" rtl="0" eaLnBrk="0" fontAlgn="base" hangingPunct="0">
        <a:spcBef>
          <a:spcPct val="0"/>
        </a:spcBef>
        <a:spcAft>
          <a:spcPct val="0"/>
        </a:spcAft>
        <a:defRPr sz="2551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9877" rtl="0" eaLnBrk="0" fontAlgn="base" hangingPunct="0">
        <a:spcBef>
          <a:spcPct val="0"/>
        </a:spcBef>
        <a:spcAft>
          <a:spcPct val="0"/>
        </a:spcAft>
        <a:defRPr sz="2551" b="1">
          <a:solidFill>
            <a:schemeClr val="tx2"/>
          </a:solidFill>
          <a:latin typeface="Arial" charset="0"/>
          <a:ea typeface="Batang" pitchFamily="18" charset="-127"/>
          <a:cs typeface="Arial" charset="0"/>
        </a:defRPr>
      </a:lvl2pPr>
      <a:lvl3pPr algn="l" defTabSz="899877" rtl="0" eaLnBrk="0" fontAlgn="base" hangingPunct="0">
        <a:spcBef>
          <a:spcPct val="0"/>
        </a:spcBef>
        <a:spcAft>
          <a:spcPct val="0"/>
        </a:spcAft>
        <a:defRPr sz="2551" b="1">
          <a:solidFill>
            <a:schemeClr val="tx2"/>
          </a:solidFill>
          <a:latin typeface="Arial" charset="0"/>
          <a:ea typeface="Batang" pitchFamily="18" charset="-127"/>
          <a:cs typeface="Arial" charset="0"/>
        </a:defRPr>
      </a:lvl3pPr>
      <a:lvl4pPr algn="l" defTabSz="899877" rtl="0" eaLnBrk="0" fontAlgn="base" hangingPunct="0">
        <a:spcBef>
          <a:spcPct val="0"/>
        </a:spcBef>
        <a:spcAft>
          <a:spcPct val="0"/>
        </a:spcAft>
        <a:defRPr sz="2551" b="1">
          <a:solidFill>
            <a:schemeClr val="tx2"/>
          </a:solidFill>
          <a:latin typeface="Arial" charset="0"/>
          <a:ea typeface="Batang" pitchFamily="18" charset="-127"/>
          <a:cs typeface="Arial" charset="0"/>
        </a:defRPr>
      </a:lvl4pPr>
      <a:lvl5pPr algn="l" defTabSz="899877" rtl="0" eaLnBrk="0" fontAlgn="base" hangingPunct="0">
        <a:spcBef>
          <a:spcPct val="0"/>
        </a:spcBef>
        <a:spcAft>
          <a:spcPct val="0"/>
        </a:spcAft>
        <a:defRPr sz="2551" b="1">
          <a:solidFill>
            <a:schemeClr val="tx2"/>
          </a:solidFill>
          <a:latin typeface="Arial" charset="0"/>
          <a:ea typeface="Batang" pitchFamily="18" charset="-127"/>
          <a:cs typeface="Arial" charset="0"/>
        </a:defRPr>
      </a:lvl5pPr>
      <a:lvl6pPr marL="410099" algn="l" defTabSz="902797" rtl="0" fontAlgn="base">
        <a:spcBef>
          <a:spcPct val="0"/>
        </a:spcBef>
        <a:spcAft>
          <a:spcPct val="0"/>
        </a:spcAft>
        <a:defRPr sz="2551" b="1">
          <a:solidFill>
            <a:schemeClr val="tx2"/>
          </a:solidFill>
          <a:latin typeface="Arial" charset="0"/>
          <a:ea typeface="Batang" pitchFamily="18" charset="-127"/>
          <a:cs typeface="Arial" charset="0"/>
        </a:defRPr>
      </a:lvl6pPr>
      <a:lvl7pPr marL="820176" algn="l" defTabSz="902797" rtl="0" fontAlgn="base">
        <a:spcBef>
          <a:spcPct val="0"/>
        </a:spcBef>
        <a:spcAft>
          <a:spcPct val="0"/>
        </a:spcAft>
        <a:defRPr sz="2551" b="1">
          <a:solidFill>
            <a:schemeClr val="tx2"/>
          </a:solidFill>
          <a:latin typeface="Arial" charset="0"/>
          <a:ea typeface="Batang" pitchFamily="18" charset="-127"/>
          <a:cs typeface="Arial" charset="0"/>
        </a:defRPr>
      </a:lvl7pPr>
      <a:lvl8pPr marL="1230255" algn="l" defTabSz="902797" rtl="0" fontAlgn="base">
        <a:spcBef>
          <a:spcPct val="0"/>
        </a:spcBef>
        <a:spcAft>
          <a:spcPct val="0"/>
        </a:spcAft>
        <a:defRPr sz="2551" b="1">
          <a:solidFill>
            <a:schemeClr val="tx2"/>
          </a:solidFill>
          <a:latin typeface="Arial" charset="0"/>
          <a:ea typeface="Batang" pitchFamily="18" charset="-127"/>
          <a:cs typeface="Arial" charset="0"/>
        </a:defRPr>
      </a:lvl8pPr>
      <a:lvl9pPr marL="1640340" algn="l" defTabSz="902797" rtl="0" fontAlgn="base">
        <a:spcBef>
          <a:spcPct val="0"/>
        </a:spcBef>
        <a:spcAft>
          <a:spcPct val="0"/>
        </a:spcAft>
        <a:defRPr sz="2551" b="1">
          <a:solidFill>
            <a:schemeClr val="tx2"/>
          </a:solidFill>
          <a:latin typeface="Arial" charset="0"/>
          <a:ea typeface="Batang" pitchFamily="18" charset="-127"/>
          <a:cs typeface="Arial" charset="0"/>
        </a:defRPr>
      </a:lvl9pPr>
    </p:titleStyle>
    <p:bodyStyle>
      <a:lvl1pPr marL="304760" indent="-304760" algn="l" rtl="0" eaLnBrk="0" fontAlgn="base" hangingPunct="0">
        <a:spcBef>
          <a:spcPct val="20000"/>
        </a:spcBef>
        <a:spcAft>
          <a:spcPct val="20000"/>
        </a:spcAft>
        <a:buClr>
          <a:srgbClr val="FF0000"/>
        </a:buClr>
        <a:buFont typeface="Arial" pitchFamily="34" charset="0"/>
        <a:buChar char="•"/>
        <a:defRPr sz="1122" b="1">
          <a:solidFill>
            <a:schemeClr val="tx2"/>
          </a:solidFill>
          <a:latin typeface="+mn-lt"/>
          <a:ea typeface="+mn-ea"/>
          <a:cs typeface="+mn-cs"/>
        </a:defRPr>
      </a:lvl1pPr>
      <a:lvl2pPr marL="224246" indent="-222814" algn="l" rtl="0" eaLnBrk="0" fontAlgn="base" hangingPunct="0">
        <a:spcBef>
          <a:spcPct val="20000"/>
        </a:spcBef>
        <a:spcAft>
          <a:spcPct val="20000"/>
        </a:spcAft>
        <a:buClr>
          <a:schemeClr val="tx2"/>
        </a:buClr>
        <a:buFont typeface="Wingdings" pitchFamily="2" charset="2"/>
        <a:buChar char="n"/>
        <a:defRPr sz="1122">
          <a:solidFill>
            <a:schemeClr val="tx1"/>
          </a:solidFill>
          <a:latin typeface="+mn-lt"/>
          <a:ea typeface="Arial Unicode MS" pitchFamily="34" charset="-128"/>
          <a:cs typeface="+mn-cs"/>
        </a:defRPr>
      </a:lvl2pPr>
      <a:lvl3pPr marL="471499" indent="-241502" algn="l" rtl="0" eaLnBrk="0" fontAlgn="base" hangingPunct="0">
        <a:spcBef>
          <a:spcPct val="20000"/>
        </a:spcBef>
        <a:spcAft>
          <a:spcPct val="20000"/>
        </a:spcAft>
        <a:buClr>
          <a:schemeClr val="tx1"/>
        </a:buClr>
        <a:buSzPct val="150000"/>
        <a:buFont typeface="Symbol" pitchFamily="18" charset="2"/>
        <a:buChar char="-"/>
        <a:defRPr sz="1122">
          <a:solidFill>
            <a:schemeClr val="tx1"/>
          </a:solidFill>
          <a:latin typeface="+mn-lt"/>
          <a:ea typeface="+mn-ea"/>
          <a:cs typeface="+mn-cs"/>
        </a:defRPr>
      </a:lvl3pPr>
      <a:lvl4pPr marL="710128" indent="-232875" algn="l" rtl="0" eaLnBrk="0" fontAlgn="base" hangingPunct="0">
        <a:spcBef>
          <a:spcPct val="20000"/>
        </a:spcBef>
        <a:spcAft>
          <a:spcPct val="20000"/>
        </a:spcAft>
        <a:buClr>
          <a:schemeClr val="tx1"/>
        </a:buClr>
        <a:buFont typeface="Symbol" pitchFamily="18" charset="2"/>
        <a:buChar char="-"/>
        <a:defRPr sz="1122">
          <a:solidFill>
            <a:schemeClr val="tx1"/>
          </a:solidFill>
          <a:latin typeface="+mn-lt"/>
          <a:ea typeface="+mn-ea"/>
          <a:cs typeface="+mn-cs"/>
        </a:defRPr>
      </a:lvl4pPr>
      <a:lvl5pPr marL="948748" indent="-234317" algn="l" rtl="0" eaLnBrk="0" fontAlgn="base" hangingPunct="0">
        <a:spcBef>
          <a:spcPct val="20000"/>
        </a:spcBef>
        <a:spcAft>
          <a:spcPct val="20000"/>
        </a:spcAft>
        <a:buClr>
          <a:schemeClr val="tx1"/>
        </a:buClr>
        <a:buFont typeface="Symbol" pitchFamily="18" charset="2"/>
        <a:buChar char="-"/>
        <a:defRPr sz="1122">
          <a:solidFill>
            <a:schemeClr val="tx1"/>
          </a:solidFill>
          <a:latin typeface="+mn-lt"/>
          <a:ea typeface="+mn-ea"/>
          <a:cs typeface="+mn-cs"/>
        </a:defRPr>
      </a:lvl5pPr>
      <a:lvl6pPr marL="1361250" indent="-237796" algn="l" rtl="0" fontAlgn="base">
        <a:spcBef>
          <a:spcPct val="20000"/>
        </a:spcBef>
        <a:spcAft>
          <a:spcPct val="20000"/>
        </a:spcAft>
        <a:buClr>
          <a:schemeClr val="tx1"/>
        </a:buClr>
        <a:buFont typeface="Symbol" pitchFamily="18" charset="2"/>
        <a:buChar char="-"/>
        <a:defRPr sz="1122">
          <a:solidFill>
            <a:schemeClr val="tx1"/>
          </a:solidFill>
          <a:latin typeface="+mn-lt"/>
          <a:ea typeface="+mn-ea"/>
          <a:cs typeface="+mn-cs"/>
        </a:defRPr>
      </a:lvl6pPr>
      <a:lvl7pPr marL="1771323" indent="-237796" algn="l" rtl="0" fontAlgn="base">
        <a:spcBef>
          <a:spcPct val="20000"/>
        </a:spcBef>
        <a:spcAft>
          <a:spcPct val="20000"/>
        </a:spcAft>
        <a:buClr>
          <a:schemeClr val="tx1"/>
        </a:buClr>
        <a:buFont typeface="Symbol" pitchFamily="18" charset="2"/>
        <a:buChar char="-"/>
        <a:defRPr sz="1122">
          <a:solidFill>
            <a:schemeClr val="tx1"/>
          </a:solidFill>
          <a:latin typeface="+mn-lt"/>
          <a:ea typeface="+mn-ea"/>
          <a:cs typeface="+mn-cs"/>
        </a:defRPr>
      </a:lvl7pPr>
      <a:lvl8pPr marL="2181423" indent="-237796" algn="l" rtl="0" fontAlgn="base">
        <a:spcBef>
          <a:spcPct val="20000"/>
        </a:spcBef>
        <a:spcAft>
          <a:spcPct val="20000"/>
        </a:spcAft>
        <a:buClr>
          <a:schemeClr val="tx1"/>
        </a:buClr>
        <a:buFont typeface="Symbol" pitchFamily="18" charset="2"/>
        <a:buChar char="-"/>
        <a:defRPr sz="1122">
          <a:solidFill>
            <a:schemeClr val="tx1"/>
          </a:solidFill>
          <a:latin typeface="+mn-lt"/>
          <a:ea typeface="+mn-ea"/>
          <a:cs typeface="+mn-cs"/>
        </a:defRPr>
      </a:lvl8pPr>
      <a:lvl9pPr marL="2591518" indent="-237796" algn="l" rtl="0" fontAlgn="base">
        <a:spcBef>
          <a:spcPct val="20000"/>
        </a:spcBef>
        <a:spcAft>
          <a:spcPct val="20000"/>
        </a:spcAft>
        <a:buClr>
          <a:schemeClr val="tx1"/>
        </a:buClr>
        <a:buFont typeface="Symbol" pitchFamily="18" charset="2"/>
        <a:buChar char="-"/>
        <a:defRPr sz="1122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20176" rtl="0" eaLnBrk="1" latinLnBrk="0" hangingPunct="1">
        <a:defRPr sz="1632" kern="1200">
          <a:solidFill>
            <a:schemeClr val="tx1"/>
          </a:solidFill>
          <a:latin typeface="+mn-lt"/>
          <a:ea typeface="+mn-ea"/>
          <a:cs typeface="+mn-cs"/>
        </a:defRPr>
      </a:lvl1pPr>
      <a:lvl2pPr marL="410099" algn="l" defTabSz="820176" rtl="0" eaLnBrk="1" latinLnBrk="0" hangingPunct="1">
        <a:defRPr sz="1632" kern="1200">
          <a:solidFill>
            <a:schemeClr val="tx1"/>
          </a:solidFill>
          <a:latin typeface="+mn-lt"/>
          <a:ea typeface="+mn-ea"/>
          <a:cs typeface="+mn-cs"/>
        </a:defRPr>
      </a:lvl2pPr>
      <a:lvl3pPr marL="820176" algn="l" defTabSz="820176" rtl="0" eaLnBrk="1" latinLnBrk="0" hangingPunct="1">
        <a:defRPr sz="1632" kern="1200">
          <a:solidFill>
            <a:schemeClr val="tx1"/>
          </a:solidFill>
          <a:latin typeface="+mn-lt"/>
          <a:ea typeface="+mn-ea"/>
          <a:cs typeface="+mn-cs"/>
        </a:defRPr>
      </a:lvl3pPr>
      <a:lvl4pPr marL="1230255" algn="l" defTabSz="820176" rtl="0" eaLnBrk="1" latinLnBrk="0" hangingPunct="1">
        <a:defRPr sz="1632" kern="1200">
          <a:solidFill>
            <a:schemeClr val="tx1"/>
          </a:solidFill>
          <a:latin typeface="+mn-lt"/>
          <a:ea typeface="+mn-ea"/>
          <a:cs typeface="+mn-cs"/>
        </a:defRPr>
      </a:lvl4pPr>
      <a:lvl5pPr marL="1640340" algn="l" defTabSz="820176" rtl="0" eaLnBrk="1" latinLnBrk="0" hangingPunct="1">
        <a:defRPr sz="1632" kern="1200">
          <a:solidFill>
            <a:schemeClr val="tx1"/>
          </a:solidFill>
          <a:latin typeface="+mn-lt"/>
          <a:ea typeface="+mn-ea"/>
          <a:cs typeface="+mn-cs"/>
        </a:defRPr>
      </a:lvl5pPr>
      <a:lvl6pPr marL="2050424" algn="l" defTabSz="820176" rtl="0" eaLnBrk="1" latinLnBrk="0" hangingPunct="1">
        <a:defRPr sz="1632" kern="1200">
          <a:solidFill>
            <a:schemeClr val="tx1"/>
          </a:solidFill>
          <a:latin typeface="+mn-lt"/>
          <a:ea typeface="+mn-ea"/>
          <a:cs typeface="+mn-cs"/>
        </a:defRPr>
      </a:lvl6pPr>
      <a:lvl7pPr marL="2460500" algn="l" defTabSz="820176" rtl="0" eaLnBrk="1" latinLnBrk="0" hangingPunct="1">
        <a:defRPr sz="1632" kern="1200">
          <a:solidFill>
            <a:schemeClr val="tx1"/>
          </a:solidFill>
          <a:latin typeface="+mn-lt"/>
          <a:ea typeface="+mn-ea"/>
          <a:cs typeface="+mn-cs"/>
        </a:defRPr>
      </a:lvl7pPr>
      <a:lvl8pPr marL="2870587" algn="l" defTabSz="820176" rtl="0" eaLnBrk="1" latinLnBrk="0" hangingPunct="1">
        <a:defRPr sz="1632" kern="1200">
          <a:solidFill>
            <a:schemeClr val="tx1"/>
          </a:solidFill>
          <a:latin typeface="+mn-lt"/>
          <a:ea typeface="+mn-ea"/>
          <a:cs typeface="+mn-cs"/>
        </a:defRPr>
      </a:lvl8pPr>
      <a:lvl9pPr marL="3280674" algn="l" defTabSz="820176" rtl="0" eaLnBrk="1" latinLnBrk="0" hangingPunct="1">
        <a:defRPr sz="163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7460" name="Слайд think-cell" r:id="rId8" imgW="270" imgH="270" progId="TCLayout.ActiveDocument.1">
                  <p:embed/>
                </p:oleObj>
              </mc:Choice>
              <mc:Fallback>
                <p:oleObj name="Слайд think-cell" r:id="rId8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ru-RU" sz="2400" b="0" i="0" baseline="0" dirty="0">
              <a:solidFill>
                <a:schemeClr val="bg1"/>
              </a:solidFill>
              <a:latin typeface="Tahoma" panose="020B0604030504040204" pitchFamily="34" charset="0"/>
              <a:ea typeface="+mj-ea"/>
              <a:cs typeface="+mj-cs"/>
              <a:sym typeface="Tahoma" panose="020B060403050404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7" y="163284"/>
            <a:ext cx="7453313" cy="63341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87338" y="1225220"/>
            <a:ext cx="8570912" cy="507107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532440" y="6549154"/>
            <a:ext cx="322836" cy="1920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E7EDDEF7-4D45-49A0-8BE1-BFE95F4A2986}" type="slidenum">
              <a:rPr lang="ru-RU" smtClean="0"/>
              <a:t>‹#›</a:t>
            </a:fld>
            <a:endParaRPr lang="ru-RU" dirty="0"/>
          </a:p>
        </p:txBody>
      </p:sp>
      <p:cxnSp>
        <p:nvCxnSpPr>
          <p:cNvPr id="35" name="Прямая соединительная линия 34"/>
          <p:cNvCxnSpPr/>
          <p:nvPr/>
        </p:nvCxnSpPr>
        <p:spPr>
          <a:xfrm>
            <a:off x="287338" y="882086"/>
            <a:ext cx="8568000" cy="0"/>
          </a:xfrm>
          <a:prstGeom prst="line">
            <a:avLst/>
          </a:prstGeom>
          <a:ln w="254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com_taina_rus" hidden="1"/>
          <p:cNvSpPr txBox="1"/>
          <p:nvPr/>
        </p:nvSpPr>
        <p:spPr>
          <a:xfrm>
            <a:off x="7960304" y="711347"/>
            <a:ext cx="902491" cy="11233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730" dirty="0">
                <a:solidFill>
                  <a:srgbClr val="5B5B5B"/>
                </a:solidFill>
              </a:rPr>
              <a:t>Коммерческая тайна</a:t>
            </a:r>
          </a:p>
        </p:txBody>
      </p:sp>
      <p:sp>
        <p:nvSpPr>
          <p:cNvPr id="24" name="nav_razd1" hidden="1"/>
          <p:cNvSpPr txBox="1"/>
          <p:nvPr/>
        </p:nvSpPr>
        <p:spPr>
          <a:xfrm>
            <a:off x="287337" y="961415"/>
            <a:ext cx="1296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000" dirty="0">
                <a:solidFill>
                  <a:srgbClr val="0077C8"/>
                </a:solidFill>
              </a:rPr>
              <a:t>Lorem ipsum dolor</a:t>
            </a:r>
          </a:p>
        </p:txBody>
      </p:sp>
      <p:sp>
        <p:nvSpPr>
          <p:cNvPr id="25" name="nav_razd2" hidden="1"/>
          <p:cNvSpPr txBox="1"/>
          <p:nvPr/>
        </p:nvSpPr>
        <p:spPr>
          <a:xfrm>
            <a:off x="1741878" y="961415"/>
            <a:ext cx="1296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000" dirty="0">
                <a:solidFill>
                  <a:srgbClr val="9D9E9E"/>
                </a:solidFill>
              </a:rPr>
              <a:t>Lorem ipsum dolor</a:t>
            </a:r>
          </a:p>
        </p:txBody>
      </p:sp>
      <p:sp>
        <p:nvSpPr>
          <p:cNvPr id="26" name="nav_razd3" hidden="1"/>
          <p:cNvSpPr txBox="1"/>
          <p:nvPr/>
        </p:nvSpPr>
        <p:spPr>
          <a:xfrm>
            <a:off x="3196419" y="961415"/>
            <a:ext cx="1296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000" dirty="0">
                <a:solidFill>
                  <a:srgbClr val="9D9E9E"/>
                </a:solidFill>
              </a:rPr>
              <a:t>Lorem ipsum dolor</a:t>
            </a:r>
          </a:p>
        </p:txBody>
      </p:sp>
      <p:sp>
        <p:nvSpPr>
          <p:cNvPr id="31" name="nav_razd4" hidden="1"/>
          <p:cNvSpPr txBox="1"/>
          <p:nvPr/>
        </p:nvSpPr>
        <p:spPr>
          <a:xfrm>
            <a:off x="4650960" y="961415"/>
            <a:ext cx="1296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000" dirty="0">
                <a:solidFill>
                  <a:srgbClr val="9D9E9E"/>
                </a:solidFill>
              </a:rPr>
              <a:t>Lorem ipsum dolor</a:t>
            </a:r>
          </a:p>
        </p:txBody>
      </p:sp>
      <p:sp>
        <p:nvSpPr>
          <p:cNvPr id="39" name="nav_razd5" hidden="1"/>
          <p:cNvSpPr txBox="1"/>
          <p:nvPr/>
        </p:nvSpPr>
        <p:spPr>
          <a:xfrm>
            <a:off x="6105501" y="961415"/>
            <a:ext cx="1296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solidFill>
                  <a:srgbClr val="9D9E9E"/>
                </a:solidFill>
              </a:rPr>
              <a:t>Lorem ipsum dolor</a:t>
            </a:r>
          </a:p>
        </p:txBody>
      </p:sp>
      <p:sp>
        <p:nvSpPr>
          <p:cNvPr id="40" name="nav_razd6" hidden="1"/>
          <p:cNvSpPr txBox="1"/>
          <p:nvPr/>
        </p:nvSpPr>
        <p:spPr>
          <a:xfrm>
            <a:off x="7560043" y="961415"/>
            <a:ext cx="1296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000" dirty="0">
                <a:solidFill>
                  <a:srgbClr val="9D9E9E"/>
                </a:solidFill>
              </a:rPr>
              <a:t>Lorem ipsum dolor</a:t>
            </a:r>
          </a:p>
        </p:txBody>
      </p:sp>
      <p:sp>
        <p:nvSpPr>
          <p:cNvPr id="32" name="com_taina1_rus" hidden="1"/>
          <p:cNvSpPr txBox="1"/>
          <p:nvPr/>
        </p:nvSpPr>
        <p:spPr>
          <a:xfrm>
            <a:off x="7915238" y="711347"/>
            <a:ext cx="974626" cy="11233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730" dirty="0">
                <a:solidFill>
                  <a:srgbClr val="5B5B5B"/>
                </a:solidFill>
              </a:rPr>
              <a:t>Коммерческая тайна</a:t>
            </a:r>
            <a:r>
              <a:rPr lang="en-US" sz="730" dirty="0">
                <a:solidFill>
                  <a:srgbClr val="5B5B5B"/>
                </a:solidFill>
              </a:rPr>
              <a:t> 1</a:t>
            </a:r>
            <a:endParaRPr lang="ru-RU" sz="730" dirty="0">
              <a:solidFill>
                <a:srgbClr val="5B5B5B"/>
              </a:solidFill>
            </a:endParaRPr>
          </a:p>
        </p:txBody>
      </p:sp>
      <p:sp>
        <p:nvSpPr>
          <p:cNvPr id="33" name="com_taina_eng" hidden="1"/>
          <p:cNvSpPr txBox="1"/>
          <p:nvPr/>
        </p:nvSpPr>
        <p:spPr>
          <a:xfrm>
            <a:off x="8152664" y="711347"/>
            <a:ext cx="517770" cy="11233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30" dirty="0">
                <a:solidFill>
                  <a:srgbClr val="5B5B5B"/>
                </a:solidFill>
              </a:rPr>
              <a:t>Trade secret</a:t>
            </a:r>
          </a:p>
        </p:txBody>
      </p:sp>
      <p:sp>
        <p:nvSpPr>
          <p:cNvPr id="36" name="com_taina1_eng" hidden="1"/>
          <p:cNvSpPr txBox="1"/>
          <p:nvPr/>
        </p:nvSpPr>
        <p:spPr>
          <a:xfrm>
            <a:off x="8068755" y="711347"/>
            <a:ext cx="597921" cy="11233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30" dirty="0">
                <a:solidFill>
                  <a:srgbClr val="5B5B5B"/>
                </a:solidFill>
              </a:rPr>
              <a:t>Trade secret 1</a:t>
            </a:r>
          </a:p>
        </p:txBody>
      </p:sp>
      <p:pic>
        <p:nvPicPr>
          <p:cNvPr id="56" name="LogoEng_vnutr" hidden="1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8387" y="156968"/>
            <a:ext cx="699002" cy="446400"/>
          </a:xfrm>
          <a:prstGeom prst="rect">
            <a:avLst/>
          </a:prstGeom>
        </p:spPr>
      </p:pic>
      <p:pic>
        <p:nvPicPr>
          <p:cNvPr id="58" name="LogoRus_vnutr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1060" y="156968"/>
            <a:ext cx="773657" cy="446400"/>
          </a:xfrm>
          <a:prstGeom prst="rect">
            <a:avLst/>
          </a:prstGeom>
        </p:spPr>
      </p:pic>
      <p:sp>
        <p:nvSpPr>
          <p:cNvPr id="5" name="Workspace [Presentation]" hidden="1"/>
          <p:cNvSpPr/>
          <p:nvPr userDrawn="1"/>
        </p:nvSpPr>
        <p:spPr>
          <a:xfrm>
            <a:off x="362269" y="6440967"/>
            <a:ext cx="8100001" cy="144000"/>
          </a:xfrm>
          <a:prstGeom prst="rect">
            <a:avLst/>
          </a:prstGeom>
          <a:noFill/>
          <a:ln w="12700">
            <a:solidFill>
              <a:srgbClr val="D24726"/>
            </a:solidFill>
            <a:prstDash val="lgDash"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lIns="252000" tIns="90000" rIns="252000" bIns="90000" rtlCol="0" anchor="ctr">
            <a:normAutofit fontScale="25000" lnSpcReduction="20000"/>
          </a:bodyPr>
          <a:lstStyle/>
          <a:p>
            <a:pPr algn="ctr">
              <a:spcBef>
                <a:spcPts val="1200"/>
              </a:spcBef>
              <a:buFont typeface="Arial" panose="020B0604020202020204" pitchFamily="34" charset="0"/>
              <a:buNone/>
            </a:pPr>
            <a:endParaRPr lang="ru-RU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63392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845" r:id="rId2"/>
    <p:sldLayoutId id="2147483846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spcBef>
          <a:spcPts val="1200"/>
        </a:spcBef>
        <a:buClr>
          <a:schemeClr val="accent2"/>
        </a:buClr>
        <a:buFont typeface="Tahoma" panose="020B0604030504040204" pitchFamily="34" charset="0"/>
        <a:buChar char="●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5600" indent="-174625" algn="l" defTabSz="914400" rtl="0" eaLnBrk="1" latinLnBrk="0" hangingPunct="1">
        <a:spcBef>
          <a:spcPts val="600"/>
        </a:spcBef>
        <a:buClr>
          <a:schemeClr val="accent6"/>
        </a:buClr>
        <a:buFont typeface="Tahoma" panose="020B0604030504040204" pitchFamily="34" charset="0"/>
        <a:buChar char="●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5">
          <p15:clr>
            <a:srgbClr val="F26B43"/>
          </p15:clr>
        </p15:guide>
        <p15:guide id="2" pos="173">
          <p15:clr>
            <a:srgbClr val="F26B43"/>
          </p15:clr>
        </p15:guide>
        <p15:guide id="3" pos="5587">
          <p15:clr>
            <a:srgbClr val="F26B43"/>
          </p15:clr>
        </p15:guide>
        <p15:guide id="4" pos="2880">
          <p15:clr>
            <a:srgbClr val="F26B43"/>
          </p15:clr>
        </p15:guide>
        <p15:guide id="5" orient="horz" pos="3974">
          <p15:clr>
            <a:srgbClr val="F26B43"/>
          </p15:clr>
        </p15:guide>
        <p15:guide id="6" orient="horz" pos="4222">
          <p15:clr>
            <a:srgbClr val="F26B43"/>
          </p15:clr>
        </p15:guide>
        <p15:guide id="7" orient="horz" pos="754">
          <p15:clr>
            <a:srgbClr val="F26B43"/>
          </p15:clr>
        </p15:guide>
        <p15:guide id="8" orient="horz" pos="503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3798" name="Слайд think-cell" r:id="rId8" imgW="270" imgH="270" progId="TCLayout.ActiveDocument.1">
                  <p:embed/>
                </p:oleObj>
              </mc:Choice>
              <mc:Fallback>
                <p:oleObj name="Слайд think-cell" r:id="rId8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ru-RU" sz="2400" b="0" i="0" baseline="0" dirty="0">
              <a:solidFill>
                <a:schemeClr val="bg1"/>
              </a:solidFill>
              <a:latin typeface="Tahoma" panose="020B0604030504040204" pitchFamily="34" charset="0"/>
              <a:ea typeface="+mj-ea"/>
              <a:cs typeface="+mj-cs"/>
              <a:sym typeface="Tahoma" panose="020B060403050404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7" y="163284"/>
            <a:ext cx="7453313" cy="63341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87338" y="1225220"/>
            <a:ext cx="8570912" cy="507107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532440" y="6549154"/>
            <a:ext cx="322836" cy="1920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E7EDDEF7-4D45-49A0-8BE1-BFE95F4A2986}" type="slidenum">
              <a:rPr lang="ru-RU" smtClean="0"/>
              <a:t>‹#›</a:t>
            </a:fld>
            <a:endParaRPr lang="ru-RU" dirty="0"/>
          </a:p>
        </p:txBody>
      </p:sp>
      <p:cxnSp>
        <p:nvCxnSpPr>
          <p:cNvPr id="35" name="Прямая соединительная линия 34"/>
          <p:cNvCxnSpPr/>
          <p:nvPr/>
        </p:nvCxnSpPr>
        <p:spPr>
          <a:xfrm>
            <a:off x="287338" y="882086"/>
            <a:ext cx="8568000" cy="0"/>
          </a:xfrm>
          <a:prstGeom prst="line">
            <a:avLst/>
          </a:prstGeom>
          <a:ln w="254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com_taina_rus" hidden="1"/>
          <p:cNvSpPr txBox="1"/>
          <p:nvPr/>
        </p:nvSpPr>
        <p:spPr>
          <a:xfrm>
            <a:off x="7960304" y="711347"/>
            <a:ext cx="902491" cy="11233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730" dirty="0">
                <a:solidFill>
                  <a:srgbClr val="5B5B5B"/>
                </a:solidFill>
              </a:rPr>
              <a:t>Коммерческая тайна</a:t>
            </a:r>
          </a:p>
        </p:txBody>
      </p:sp>
      <p:sp>
        <p:nvSpPr>
          <p:cNvPr id="24" name="nav_razd1" hidden="1"/>
          <p:cNvSpPr txBox="1"/>
          <p:nvPr/>
        </p:nvSpPr>
        <p:spPr>
          <a:xfrm>
            <a:off x="287337" y="961415"/>
            <a:ext cx="1296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000" dirty="0">
                <a:solidFill>
                  <a:srgbClr val="0077C8"/>
                </a:solidFill>
              </a:rPr>
              <a:t>Lorem ipsum dolor</a:t>
            </a:r>
          </a:p>
        </p:txBody>
      </p:sp>
      <p:sp>
        <p:nvSpPr>
          <p:cNvPr id="25" name="nav_razd2" hidden="1"/>
          <p:cNvSpPr txBox="1"/>
          <p:nvPr/>
        </p:nvSpPr>
        <p:spPr>
          <a:xfrm>
            <a:off x="1741878" y="961415"/>
            <a:ext cx="1296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000" dirty="0">
                <a:solidFill>
                  <a:srgbClr val="9D9E9E"/>
                </a:solidFill>
              </a:rPr>
              <a:t>Lorem ipsum dolor</a:t>
            </a:r>
          </a:p>
        </p:txBody>
      </p:sp>
      <p:sp>
        <p:nvSpPr>
          <p:cNvPr id="26" name="nav_razd3" hidden="1"/>
          <p:cNvSpPr txBox="1"/>
          <p:nvPr/>
        </p:nvSpPr>
        <p:spPr>
          <a:xfrm>
            <a:off x="3196419" y="961415"/>
            <a:ext cx="1296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000" dirty="0">
                <a:solidFill>
                  <a:srgbClr val="9D9E9E"/>
                </a:solidFill>
              </a:rPr>
              <a:t>Lorem ipsum dolor</a:t>
            </a:r>
          </a:p>
        </p:txBody>
      </p:sp>
      <p:sp>
        <p:nvSpPr>
          <p:cNvPr id="31" name="nav_razd4" hidden="1"/>
          <p:cNvSpPr txBox="1"/>
          <p:nvPr/>
        </p:nvSpPr>
        <p:spPr>
          <a:xfrm>
            <a:off x="4650960" y="961415"/>
            <a:ext cx="1296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000" dirty="0">
                <a:solidFill>
                  <a:srgbClr val="9D9E9E"/>
                </a:solidFill>
              </a:rPr>
              <a:t>Lorem ipsum dolor</a:t>
            </a:r>
          </a:p>
        </p:txBody>
      </p:sp>
      <p:sp>
        <p:nvSpPr>
          <p:cNvPr id="39" name="nav_razd5" hidden="1"/>
          <p:cNvSpPr txBox="1"/>
          <p:nvPr/>
        </p:nvSpPr>
        <p:spPr>
          <a:xfrm>
            <a:off x="6105501" y="961415"/>
            <a:ext cx="1296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solidFill>
                  <a:srgbClr val="9D9E9E"/>
                </a:solidFill>
              </a:rPr>
              <a:t>Lorem ipsum dolor</a:t>
            </a:r>
          </a:p>
        </p:txBody>
      </p:sp>
      <p:sp>
        <p:nvSpPr>
          <p:cNvPr id="40" name="nav_razd6" hidden="1"/>
          <p:cNvSpPr txBox="1"/>
          <p:nvPr/>
        </p:nvSpPr>
        <p:spPr>
          <a:xfrm>
            <a:off x="7560043" y="961415"/>
            <a:ext cx="1296000" cy="180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000" dirty="0">
                <a:solidFill>
                  <a:srgbClr val="9D9E9E"/>
                </a:solidFill>
              </a:rPr>
              <a:t>Lorem ipsum dolor</a:t>
            </a:r>
          </a:p>
        </p:txBody>
      </p:sp>
      <p:sp>
        <p:nvSpPr>
          <p:cNvPr id="32" name="com_taina1_rus" hidden="1"/>
          <p:cNvSpPr txBox="1"/>
          <p:nvPr/>
        </p:nvSpPr>
        <p:spPr>
          <a:xfrm>
            <a:off x="7915238" y="711347"/>
            <a:ext cx="974626" cy="11233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730" dirty="0">
                <a:solidFill>
                  <a:srgbClr val="5B5B5B"/>
                </a:solidFill>
              </a:rPr>
              <a:t>Коммерческая тайна</a:t>
            </a:r>
            <a:r>
              <a:rPr lang="en-US" sz="730" dirty="0">
                <a:solidFill>
                  <a:srgbClr val="5B5B5B"/>
                </a:solidFill>
              </a:rPr>
              <a:t> 1</a:t>
            </a:r>
            <a:endParaRPr lang="ru-RU" sz="730" dirty="0">
              <a:solidFill>
                <a:srgbClr val="5B5B5B"/>
              </a:solidFill>
            </a:endParaRPr>
          </a:p>
        </p:txBody>
      </p:sp>
      <p:sp>
        <p:nvSpPr>
          <p:cNvPr id="33" name="com_taina_eng" hidden="1"/>
          <p:cNvSpPr txBox="1"/>
          <p:nvPr/>
        </p:nvSpPr>
        <p:spPr>
          <a:xfrm>
            <a:off x="8152664" y="711347"/>
            <a:ext cx="517770" cy="11233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30" dirty="0">
                <a:solidFill>
                  <a:srgbClr val="5B5B5B"/>
                </a:solidFill>
              </a:rPr>
              <a:t>Trade secret</a:t>
            </a:r>
          </a:p>
        </p:txBody>
      </p:sp>
      <p:sp>
        <p:nvSpPr>
          <p:cNvPr id="36" name="com_taina1_eng" hidden="1"/>
          <p:cNvSpPr txBox="1"/>
          <p:nvPr/>
        </p:nvSpPr>
        <p:spPr>
          <a:xfrm>
            <a:off x="8068755" y="711347"/>
            <a:ext cx="597921" cy="11233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30" dirty="0">
                <a:solidFill>
                  <a:srgbClr val="5B5B5B"/>
                </a:solidFill>
              </a:rPr>
              <a:t>Trade secret 1</a:t>
            </a:r>
          </a:p>
        </p:txBody>
      </p:sp>
      <p:pic>
        <p:nvPicPr>
          <p:cNvPr id="56" name="LogoEng_vnutr" hidden="1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8387" y="156968"/>
            <a:ext cx="699002" cy="446400"/>
          </a:xfrm>
          <a:prstGeom prst="rect">
            <a:avLst/>
          </a:prstGeom>
        </p:spPr>
      </p:pic>
      <p:pic>
        <p:nvPicPr>
          <p:cNvPr id="58" name="LogoRus_vnutr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1060" y="156968"/>
            <a:ext cx="773657" cy="446400"/>
          </a:xfrm>
          <a:prstGeom prst="rect">
            <a:avLst/>
          </a:prstGeom>
        </p:spPr>
      </p:pic>
      <p:sp>
        <p:nvSpPr>
          <p:cNvPr id="5" name="Workspace [Presentation]" hidden="1"/>
          <p:cNvSpPr/>
          <p:nvPr userDrawn="1"/>
        </p:nvSpPr>
        <p:spPr>
          <a:xfrm>
            <a:off x="362269" y="6440967"/>
            <a:ext cx="8100001" cy="144000"/>
          </a:xfrm>
          <a:prstGeom prst="rect">
            <a:avLst/>
          </a:prstGeom>
          <a:noFill/>
          <a:ln w="12700">
            <a:solidFill>
              <a:srgbClr val="D24726"/>
            </a:solidFill>
            <a:prstDash val="lgDash"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lIns="252000" tIns="90000" rIns="252000" bIns="90000" rtlCol="0" anchor="ctr">
            <a:normAutofit fontScale="25000" lnSpcReduction="20000"/>
          </a:bodyPr>
          <a:lstStyle/>
          <a:p>
            <a:pPr algn="ctr">
              <a:spcBef>
                <a:spcPts val="1200"/>
              </a:spcBef>
              <a:buFont typeface="Arial" panose="020B0604020202020204" pitchFamily="34" charset="0"/>
              <a:buNone/>
            </a:pPr>
            <a:endParaRPr lang="ru-RU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3225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spcBef>
          <a:spcPts val="1200"/>
        </a:spcBef>
        <a:buClr>
          <a:schemeClr val="accent2"/>
        </a:buClr>
        <a:buFont typeface="Tahoma" panose="020B0604030504040204" pitchFamily="34" charset="0"/>
        <a:buChar char="●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5600" indent="-174625" algn="l" defTabSz="914400" rtl="0" eaLnBrk="1" latinLnBrk="0" hangingPunct="1">
        <a:spcBef>
          <a:spcPts val="600"/>
        </a:spcBef>
        <a:buClr>
          <a:schemeClr val="accent6"/>
        </a:buClr>
        <a:buFont typeface="Tahoma" panose="020B0604030504040204" pitchFamily="34" charset="0"/>
        <a:buChar char="●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5">
          <p15:clr>
            <a:srgbClr val="F26B43"/>
          </p15:clr>
        </p15:guide>
        <p15:guide id="2" pos="173">
          <p15:clr>
            <a:srgbClr val="F26B43"/>
          </p15:clr>
        </p15:guide>
        <p15:guide id="3" pos="5587">
          <p15:clr>
            <a:srgbClr val="F26B43"/>
          </p15:clr>
        </p15:guide>
        <p15:guide id="4" pos="2880">
          <p15:clr>
            <a:srgbClr val="F26B43"/>
          </p15:clr>
        </p15:guide>
        <p15:guide id="5" orient="horz" pos="3974">
          <p15:clr>
            <a:srgbClr val="F26B43"/>
          </p15:clr>
        </p15:guide>
        <p15:guide id="6" orient="horz" pos="4222">
          <p15:clr>
            <a:srgbClr val="F26B43"/>
          </p15:clr>
        </p15:guide>
        <p15:guide id="7" orient="horz" pos="754">
          <p15:clr>
            <a:srgbClr val="F26B43"/>
          </p15:clr>
        </p15:guide>
        <p15:guide id="8" orient="horz" pos="503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3"/>
            </p:custDataLst>
            <p:extLst>
              <p:ext uri="{D42A27DB-BD31-4B8C-83A1-F6EECF244321}">
                <p14:modId xmlns:p14="http://schemas.microsoft.com/office/powerpoint/2010/main" val="4190690543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957" name="Слайд think-cell" r:id="rId65" imgW="270" imgH="270" progId="TCLayout.ActiveDocument.1">
                  <p:embed/>
                </p:oleObj>
              </mc:Choice>
              <mc:Fallback>
                <p:oleObj name="Слайд think-cell" r:id="rId6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64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0" i="0" baseline="0" dirty="0" err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6443508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750" baseline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8375904" y="6443508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baseline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baseline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72500" y="622801"/>
            <a:ext cx="8200013" cy="2492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72500" y="1825625"/>
            <a:ext cx="820001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4401751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  <p:sldLayoutId id="2147483856" r:id="rId2"/>
    <p:sldLayoutId id="2147483857" r:id="rId3"/>
    <p:sldLayoutId id="2147483858" r:id="rId4"/>
    <p:sldLayoutId id="2147483859" r:id="rId5"/>
    <p:sldLayoutId id="2147483860" r:id="rId6"/>
    <p:sldLayoutId id="2147483861" r:id="rId7"/>
    <p:sldLayoutId id="2147483862" r:id="rId8"/>
    <p:sldLayoutId id="2147483863" r:id="rId9"/>
    <p:sldLayoutId id="2147483864" r:id="rId10"/>
    <p:sldLayoutId id="2147483865" r:id="rId11"/>
    <p:sldLayoutId id="2147483866" r:id="rId12"/>
    <p:sldLayoutId id="2147483867" r:id="rId13"/>
    <p:sldLayoutId id="2147483868" r:id="rId14"/>
    <p:sldLayoutId id="2147483869" r:id="rId15"/>
    <p:sldLayoutId id="2147483870" r:id="rId16"/>
    <p:sldLayoutId id="2147483871" r:id="rId17"/>
    <p:sldLayoutId id="2147483872" r:id="rId18"/>
    <p:sldLayoutId id="2147483873" r:id="rId19"/>
    <p:sldLayoutId id="2147483874" r:id="rId20"/>
    <p:sldLayoutId id="2147483875" r:id="rId21"/>
    <p:sldLayoutId id="2147483876" r:id="rId22"/>
    <p:sldLayoutId id="2147483877" r:id="rId23"/>
    <p:sldLayoutId id="2147483878" r:id="rId24"/>
    <p:sldLayoutId id="2147483879" r:id="rId25"/>
    <p:sldLayoutId id="2147483880" r:id="rId26"/>
    <p:sldLayoutId id="2147483881" r:id="rId27"/>
    <p:sldLayoutId id="2147483882" r:id="rId28"/>
    <p:sldLayoutId id="2147483883" r:id="rId29"/>
    <p:sldLayoutId id="2147483884" r:id="rId30"/>
    <p:sldLayoutId id="2147483885" r:id="rId31"/>
    <p:sldLayoutId id="2147483886" r:id="rId32"/>
    <p:sldLayoutId id="2147483887" r:id="rId33"/>
    <p:sldLayoutId id="2147483888" r:id="rId34"/>
    <p:sldLayoutId id="2147483889" r:id="rId35"/>
    <p:sldLayoutId id="2147483890" r:id="rId36"/>
    <p:sldLayoutId id="2147483891" r:id="rId37"/>
    <p:sldLayoutId id="2147483892" r:id="rId38"/>
    <p:sldLayoutId id="2147483893" r:id="rId39"/>
    <p:sldLayoutId id="2147483894" r:id="rId40"/>
    <p:sldLayoutId id="2147483895" r:id="rId41"/>
    <p:sldLayoutId id="2147483896" r:id="rId42"/>
    <p:sldLayoutId id="2147483897" r:id="rId43"/>
    <p:sldLayoutId id="2147483898" r:id="rId44"/>
    <p:sldLayoutId id="2147483899" r:id="rId45"/>
    <p:sldLayoutId id="2147483900" r:id="rId46"/>
    <p:sldLayoutId id="2147483901" r:id="rId47"/>
    <p:sldLayoutId id="2147483902" r:id="rId48"/>
    <p:sldLayoutId id="2147483903" r:id="rId49"/>
    <p:sldLayoutId id="2147483904" r:id="rId50"/>
    <p:sldLayoutId id="2147483905" r:id="rId51"/>
    <p:sldLayoutId id="2147483906" r:id="rId52"/>
    <p:sldLayoutId id="2147483907" r:id="rId53"/>
    <p:sldLayoutId id="2147483908" r:id="rId54"/>
    <p:sldLayoutId id="2147483909" r:id="rId55"/>
    <p:sldLayoutId id="2147483910" r:id="rId56"/>
    <p:sldLayoutId id="2147483911" r:id="rId57"/>
    <p:sldLayoutId id="2147483912" r:id="rId58"/>
    <p:sldLayoutId id="2147483913" r:id="rId59"/>
    <p:sldLayoutId id="2147483914" r:id="rId60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  <a:sym typeface="Tahom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ct val="110000"/>
        </a:lnSpc>
        <a:spcBef>
          <a:spcPts val="450"/>
        </a:spcBef>
        <a:spcAft>
          <a:spcPts val="225"/>
        </a:spcAft>
        <a:buFont typeface="Arial" panose="020B0604020202020204" pitchFamily="34" charset="0"/>
        <a:buChar char="​"/>
        <a:defRPr lang="en-US" sz="900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  <a:sym typeface="Tahoma" panose="020B0604030504040204" pitchFamily="34" charset="0"/>
        </a:defRPr>
      </a:lvl1pPr>
      <a:lvl2pPr marL="257175" indent="-128588" algn="l" defTabSz="685800" rtl="0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rgbClr val="0077C8"/>
        </a:buClr>
        <a:buFont typeface="Tahoma" panose="020B0604030504040204" pitchFamily="34" charset="0"/>
        <a:buChar char="●"/>
        <a:defRPr lang="en-US" sz="900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  <a:sym typeface="Tahoma" panose="020B0604030504040204" pitchFamily="34" charset="0"/>
        </a:defRPr>
      </a:lvl2pPr>
      <a:lvl3pPr marL="428625" indent="-123825" algn="l" defTabSz="685800" rtl="0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rgbClr val="9D9E9E"/>
        </a:buClr>
        <a:buFont typeface="Tahoma" panose="020B0604030504040204" pitchFamily="34" charset="0"/>
        <a:buChar char="●"/>
        <a:defRPr lang="en-US" sz="900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  <a:sym typeface="Tahoma" panose="020B0604030504040204" pitchFamily="34" charset="0"/>
        </a:defRPr>
      </a:lvl3pPr>
      <a:lvl4pPr marL="0" indent="0" algn="l" defTabSz="685800" rtl="0" eaLnBrk="1" latinLnBrk="0" hangingPunct="1">
        <a:lnSpc>
          <a:spcPct val="110000"/>
        </a:lnSpc>
        <a:spcBef>
          <a:spcPts val="225"/>
        </a:spcBef>
        <a:spcAft>
          <a:spcPts val="225"/>
        </a:spcAft>
        <a:buClr>
          <a:schemeClr val="tx2"/>
        </a:buClr>
        <a:buFont typeface="Arial" panose="020B0604020202020204" pitchFamily="34" charset="0"/>
        <a:buChar char="​"/>
        <a:defRPr lang="en-US" sz="1200" kern="1200">
          <a:solidFill>
            <a:schemeClr val="tx2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  <a:sym typeface="Tahoma" panose="020B0604030504040204" pitchFamily="34" charset="0"/>
        </a:defRPr>
      </a:lvl4pPr>
      <a:lvl5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Tx/>
        <a:buFont typeface="Arial" panose="020B0604020202020204" pitchFamily="34" charset="0"/>
        <a:buChar char="​"/>
        <a:defRPr lang="en-US" sz="1200" b="1" kern="1200" smtClean="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  <a:sym typeface="Tahoma" panose="020B0604030504040204" pitchFamily="34" charset="0"/>
        </a:defRPr>
      </a:lvl5pPr>
      <a:lvl6pPr marL="257175" indent="-169069" algn="l" defTabSz="685800" rtl="0" eaLnBrk="1" latinLnBrk="0" hangingPunct="1">
        <a:lnSpc>
          <a:spcPct val="90000"/>
        </a:lnSpc>
        <a:spcBef>
          <a:spcPts val="0"/>
        </a:spcBef>
        <a:spcAft>
          <a:spcPts val="450"/>
        </a:spcAft>
        <a:buClr>
          <a:srgbClr val="0077C8"/>
        </a:buClr>
        <a:buFont typeface="Tahoma" panose="020B0604030504040204" pitchFamily="34" charset="0"/>
        <a:buChar char="●"/>
        <a:defRPr lang="en-US" sz="1200" kern="1200" smtClean="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  <a:sym typeface="Tahoma" panose="020B0604030504040204" pitchFamily="34" charset="0"/>
        </a:defRPr>
      </a:lvl6pPr>
      <a:lvl7pPr marL="0" indent="0" algn="l" defTabSz="685800" rtl="0" eaLnBrk="1" latinLnBrk="0" hangingPunct="1">
        <a:lnSpc>
          <a:spcPct val="90000"/>
        </a:lnSpc>
        <a:spcBef>
          <a:spcPts val="675"/>
        </a:spcBef>
        <a:spcAft>
          <a:spcPts val="675"/>
        </a:spcAft>
        <a:buFont typeface="Arial" panose="020B0604020202020204" pitchFamily="34" charset="0"/>
        <a:buChar char="​"/>
        <a:defRPr lang="en-US" sz="3300" kern="1200" baseline="0" smtClean="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  <a:sym typeface="Tahoma" panose="020B0604030504040204" pitchFamily="34" charset="0"/>
        </a:defRPr>
      </a:lvl7pPr>
      <a:lvl8pPr marL="0" indent="0" algn="l" defTabSz="685800" rtl="0" eaLnBrk="1" latinLnBrk="0" hangingPunct="1">
        <a:lnSpc>
          <a:spcPct val="90000"/>
        </a:lnSpc>
        <a:spcBef>
          <a:spcPts val="675"/>
        </a:spcBef>
        <a:spcAft>
          <a:spcPts val="0"/>
        </a:spcAft>
        <a:buFont typeface="Arial" panose="020B0604020202020204" pitchFamily="34" charset="0"/>
        <a:buChar char="​"/>
        <a:defRPr lang="en-US" sz="4050" kern="1200" baseline="0" smtClean="0">
          <a:solidFill>
            <a:schemeClr val="tx2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  <a:sym typeface="Tahoma" panose="020B0604030504040204" pitchFamily="34" charset="0"/>
        </a:defRPr>
      </a:lvl8pPr>
      <a:lvl9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675"/>
        </a:spcAft>
        <a:buFont typeface="Arial" panose="020B0604020202020204" pitchFamily="34" charset="0"/>
        <a:buChar char="​"/>
        <a:defRPr lang="en-US" sz="1800" kern="1200" baseline="0" dirty="0">
          <a:solidFill>
            <a:schemeClr val="tx2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  <a:sym typeface="Tahoma" panose="020B0604030504040204" pitchFamily="34" charset="0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tags" Target="../tags/tag201.xml"/><Relationship Id="rId7" Type="http://schemas.openxmlformats.org/officeDocument/2006/relationships/image" Target="../media/image3.emf"/><Relationship Id="rId12" Type="http://schemas.openxmlformats.org/officeDocument/2006/relationships/image" Target="../media/image30.png"/><Relationship Id="rId2" Type="http://schemas.openxmlformats.org/officeDocument/2006/relationships/tags" Target="../tags/tag200.xml"/><Relationship Id="rId1" Type="http://schemas.openxmlformats.org/officeDocument/2006/relationships/vmlDrawing" Target="../drawings/vmlDrawing77.vml"/><Relationship Id="rId6" Type="http://schemas.openxmlformats.org/officeDocument/2006/relationships/oleObject" Target="../embeddings/oleObject77.bin"/><Relationship Id="rId11" Type="http://schemas.openxmlformats.org/officeDocument/2006/relationships/image" Target="../media/image29.jpe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28.png"/><Relationship Id="rId4" Type="http://schemas.openxmlformats.org/officeDocument/2006/relationships/tags" Target="../tags/tag202.xml"/><Relationship Id="rId9" Type="http://schemas.openxmlformats.org/officeDocument/2006/relationships/image" Target="../media/image27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3.xml"/><Relationship Id="rId6" Type="http://schemas.openxmlformats.org/officeDocument/2006/relationships/image" Target="../media/image31.jpeg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chart" Target="../charts/chart5.xml"/><Relationship Id="rId3" Type="http://schemas.openxmlformats.org/officeDocument/2006/relationships/tags" Target="../tags/tag205.xml"/><Relationship Id="rId7" Type="http://schemas.openxmlformats.org/officeDocument/2006/relationships/tags" Target="../tags/tag209.xml"/><Relationship Id="rId12" Type="http://schemas.openxmlformats.org/officeDocument/2006/relationships/chart" Target="../charts/chart4.xml"/><Relationship Id="rId2" Type="http://schemas.openxmlformats.org/officeDocument/2006/relationships/tags" Target="../tags/tag204.xml"/><Relationship Id="rId1" Type="http://schemas.openxmlformats.org/officeDocument/2006/relationships/vmlDrawing" Target="../drawings/vmlDrawing78.vml"/><Relationship Id="rId6" Type="http://schemas.openxmlformats.org/officeDocument/2006/relationships/tags" Target="../tags/tag208.xml"/><Relationship Id="rId11" Type="http://schemas.openxmlformats.org/officeDocument/2006/relationships/image" Target="../media/image1.emf"/><Relationship Id="rId5" Type="http://schemas.openxmlformats.org/officeDocument/2006/relationships/tags" Target="../tags/tag207.xml"/><Relationship Id="rId15" Type="http://schemas.openxmlformats.org/officeDocument/2006/relationships/chart" Target="../charts/chart7.xml"/><Relationship Id="rId10" Type="http://schemas.openxmlformats.org/officeDocument/2006/relationships/oleObject" Target="../embeddings/oleObject78.bin"/><Relationship Id="rId4" Type="http://schemas.openxmlformats.org/officeDocument/2006/relationships/tags" Target="../tags/tag206.xml"/><Relationship Id="rId9" Type="http://schemas.openxmlformats.org/officeDocument/2006/relationships/notesSlide" Target="../notesSlides/notesSlide2.xml"/><Relationship Id="rId14" Type="http://schemas.openxmlformats.org/officeDocument/2006/relationships/chart" Target="../charts/char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0" y="3000285"/>
            <a:ext cx="367188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b="1" baseline="30000" dirty="0">
                <a:solidFill>
                  <a:schemeClr val="bg1"/>
                </a:solidFill>
                <a:latin typeface="+mj-lt"/>
              </a:rPr>
              <a:t>Норильский</a:t>
            </a:r>
            <a:r>
              <a:rPr lang="en-US" sz="3600" b="1" baseline="30000" dirty="0">
                <a:solidFill>
                  <a:schemeClr val="bg1"/>
                </a:solidFill>
                <a:latin typeface="+mj-lt"/>
              </a:rPr>
              <a:t> </a:t>
            </a:r>
            <a:r>
              <a:rPr lang="ru-RU" sz="3600" b="1" baseline="30000" dirty="0" smtClean="0">
                <a:solidFill>
                  <a:schemeClr val="bg1"/>
                </a:solidFill>
                <a:latin typeface="+mj-lt"/>
              </a:rPr>
              <a:t>никель</a:t>
            </a:r>
            <a:r>
              <a:rPr lang="en-US" sz="3600" b="1" baseline="30000" dirty="0" smtClean="0">
                <a:solidFill>
                  <a:schemeClr val="bg1"/>
                </a:solidFill>
                <a:latin typeface="+mj-lt"/>
              </a:rPr>
              <a:t>:</a:t>
            </a:r>
            <a:endParaRPr lang="ru-RU" sz="3600" b="1" baseline="30000" dirty="0" smtClean="0">
              <a:solidFill>
                <a:schemeClr val="bg1"/>
              </a:solidFill>
              <a:latin typeface="+mj-lt"/>
            </a:endParaRPr>
          </a:p>
          <a:p>
            <a:r>
              <a:rPr lang="ru-RU" sz="3600" b="1" baseline="30000" dirty="0">
                <a:solidFill>
                  <a:schemeClr val="bg1"/>
                </a:solidFill>
                <a:latin typeface="+mj-lt"/>
              </a:rPr>
              <a:t>Ответственное ведение бизнеса </a:t>
            </a:r>
            <a:endParaRPr lang="en-US" sz="3600" b="1" baseline="30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23528" y="5301208"/>
            <a:ext cx="1976823" cy="2975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baseline="30000" dirty="0">
                <a:solidFill>
                  <a:schemeClr val="bg1"/>
                </a:solidFill>
                <a:latin typeface="Proxima Nova"/>
              </a:rPr>
              <a:t>Москва, Ноябрь 2019</a:t>
            </a:r>
            <a:endParaRPr lang="en-GB" sz="2000" b="1" baseline="30000" dirty="0">
              <a:solidFill>
                <a:schemeClr val="bg1"/>
              </a:solidFill>
              <a:latin typeface="Proxima Nova"/>
            </a:endParaRPr>
          </a:p>
        </p:txBody>
      </p:sp>
    </p:spTree>
    <p:extLst>
      <p:ext uri="{BB962C8B-B14F-4D97-AF65-F5344CB8AC3E}">
        <p14:creationId xmlns:p14="http://schemas.microsoft.com/office/powerpoint/2010/main" val="837801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276022" y="328538"/>
            <a:ext cx="8729360" cy="490292"/>
          </a:xfrm>
        </p:spPr>
        <p:txBody>
          <a:bodyPr>
            <a:noAutofit/>
          </a:bodyPr>
          <a:lstStyle/>
          <a:p>
            <a:r>
              <a:rPr lang="ru-RU" dirty="0" smtClean="0">
                <a:solidFill>
                  <a:srgbClr val="0077C8"/>
                </a:solidFill>
                <a:latin typeface="Tahoma" panose="020B0604030504040204" pitchFamily="34" charset="0"/>
                <a:ea typeface="Tahoma"/>
                <a:cs typeface="Tahoma"/>
              </a:rPr>
              <a:t>Результаты деятельности компании в области </a:t>
            </a:r>
            <a:r>
              <a:rPr lang="en-US" dirty="0" smtClean="0">
                <a:solidFill>
                  <a:srgbClr val="0077C8"/>
                </a:solidFill>
                <a:latin typeface="Tahoma" panose="020B0604030504040204" pitchFamily="34" charset="0"/>
                <a:ea typeface="Tahoma"/>
                <a:cs typeface="Tahoma"/>
              </a:rPr>
              <a:t>ESG</a:t>
            </a:r>
            <a:endParaRPr lang="ru-RU" dirty="0">
              <a:solidFill>
                <a:srgbClr val="0077C8"/>
              </a:solidFill>
              <a:latin typeface="Tahoma" panose="020B0604030504040204" pitchFamily="34" charset="0"/>
              <a:ea typeface="Tahoma"/>
              <a:cs typeface="Tahoma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6745841" y="6349814"/>
            <a:ext cx="2057400" cy="365125"/>
          </a:xfrm>
        </p:spPr>
        <p:txBody>
          <a:bodyPr/>
          <a:lstStyle/>
          <a:p>
            <a:pPr>
              <a:defRPr/>
            </a:pPr>
            <a:r>
              <a:rPr lang="en-GB" altLang="zh-TW" dirty="0" smtClean="0"/>
              <a:t> </a:t>
            </a:r>
            <a:fld id="{D3A58217-8532-487B-B8D5-1E79FB46E19B}" type="slidenum">
              <a:rPr lang="en-GB" altLang="zh-TW" smtClean="0"/>
              <a:pPr>
                <a:defRPr/>
              </a:pPr>
              <a:t>2</a:t>
            </a:fld>
            <a:endParaRPr lang="en-GB" altLang="zh-TW" dirty="0"/>
          </a:p>
        </p:txBody>
      </p:sp>
      <p:graphicFrame>
        <p:nvGraphicFramePr>
          <p:cNvPr id="21" name="Таблица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4593142"/>
              </p:ext>
            </p:extLst>
          </p:nvPr>
        </p:nvGraphicFramePr>
        <p:xfrm>
          <a:off x="276022" y="1206998"/>
          <a:ext cx="1767922" cy="4955604"/>
        </p:xfrm>
        <a:graphic>
          <a:graphicData uri="http://schemas.openxmlformats.org/drawingml/2006/table">
            <a:tbl>
              <a:tblPr firstRow="1" bandRow="1">
                <a:tableStyleId>{C7B018BB-80A7-4F77-B60F-C8B233D01FF8}</a:tableStyleId>
              </a:tblPr>
              <a:tblGrid>
                <a:gridCol w="1767922">
                  <a:extLst>
                    <a:ext uri="{9D8B030D-6E8A-4147-A177-3AD203B41FA5}">
                      <a16:colId xmlns:a16="http://schemas.microsoft.com/office/drawing/2014/main" val="4252344662"/>
                    </a:ext>
                  </a:extLst>
                </a:gridCol>
              </a:tblGrid>
              <a:tr h="1837066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E</a:t>
                      </a:r>
                      <a:endParaRPr lang="ru-RU" sz="1600" dirty="0" smtClean="0">
                        <a:solidFill>
                          <a:schemeClr val="bg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ctr"/>
                      <a:r>
                        <a:rPr lang="en-US" sz="1600" b="0" dirty="0" smtClean="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(</a:t>
                      </a:r>
                      <a:r>
                        <a:rPr lang="ru-RU" sz="1600" b="0" dirty="0" smtClean="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Экология)</a:t>
                      </a:r>
                      <a:endParaRPr lang="en-US" sz="1600" b="0" dirty="0" smtClean="0">
                        <a:solidFill>
                          <a:schemeClr val="bg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ctr"/>
                      <a:endParaRPr lang="ru-RU" sz="1600" b="0" dirty="0">
                        <a:solidFill>
                          <a:schemeClr val="bg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8582669"/>
                  </a:ext>
                </a:extLst>
              </a:tr>
              <a:tr h="1444662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</a:t>
                      </a:r>
                      <a:endParaRPr lang="ru-RU" sz="1600" dirty="0" smtClean="0">
                        <a:solidFill>
                          <a:schemeClr val="bg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 smtClean="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(</a:t>
                      </a:r>
                      <a:r>
                        <a:rPr lang="ru-RU" sz="1600" b="0" dirty="0" smtClean="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оциальные</a:t>
                      </a:r>
                      <a:r>
                        <a:rPr lang="ru-RU" sz="1600" b="0" baseline="0" dirty="0" smtClean="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600" b="0" i="0" kern="1200" dirty="0" smtClean="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спекты)</a:t>
                      </a:r>
                    </a:p>
                  </a:txBody>
                  <a:tcPr anchor="ctr">
                    <a:solidFill>
                      <a:srgbClr val="0077C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76548"/>
                  </a:ext>
                </a:extLst>
              </a:tr>
              <a:tr h="1673876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G</a:t>
                      </a:r>
                      <a:endParaRPr lang="ru-RU" sz="1600" b="1" dirty="0" smtClean="0">
                        <a:solidFill>
                          <a:schemeClr val="bg1">
                            <a:lumMod val="50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ctr"/>
                      <a:r>
                        <a:rPr lang="ru-RU" sz="1600" b="0" i="0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(Копр.</a:t>
                      </a:r>
                      <a:r>
                        <a:rPr lang="ru-RU" sz="1600" b="0" i="0" kern="1200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управление</a:t>
                      </a:r>
                      <a:r>
                        <a:rPr lang="ru-RU" sz="1600" b="0" i="0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)</a:t>
                      </a:r>
                      <a:endParaRPr lang="ru-RU" sz="1600" b="0" i="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3448513"/>
                  </a:ext>
                </a:extLst>
              </a:tr>
            </a:tbl>
          </a:graphicData>
        </a:graphic>
      </p:graphicFrame>
      <p:sp>
        <p:nvSpPr>
          <p:cNvPr id="25" name="Пятиугольник 24"/>
          <p:cNvSpPr/>
          <p:nvPr/>
        </p:nvSpPr>
        <p:spPr bwMode="gray">
          <a:xfrm>
            <a:off x="5630251" y="851797"/>
            <a:ext cx="3154974" cy="348354"/>
          </a:xfrm>
          <a:prstGeom prst="homePlate">
            <a:avLst>
              <a:gd name="adj" fmla="val 14356"/>
            </a:avLst>
          </a:prstGeom>
          <a:solidFill>
            <a:srgbClr val="0077C8"/>
          </a:solidFill>
          <a:ln w="28575">
            <a:solidFill>
              <a:schemeClr val="bg1"/>
            </a:solidFill>
          </a:ln>
          <a:effectLst/>
          <a:extLst/>
        </p:spPr>
        <p:txBody>
          <a:bodyPr vert="horz" wrap="square" lIns="32727" tIns="32727" rIns="32727" bIns="32727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ru-RU" sz="1300" b="1" dirty="0" smtClean="0">
                <a:solidFill>
                  <a:schemeClr val="bg1"/>
                </a:solidFill>
              </a:rPr>
              <a:t>Стратегические цели 2019+</a:t>
            </a:r>
            <a:endParaRPr lang="en-GB" sz="1300" b="1" dirty="0">
              <a:solidFill>
                <a:schemeClr val="bg1"/>
              </a:solidFill>
              <a:ea typeface="Batang" pitchFamily="18" charset="-127"/>
            </a:endParaRPr>
          </a:p>
        </p:txBody>
      </p:sp>
      <p:sp>
        <p:nvSpPr>
          <p:cNvPr id="26" name="Пятиугольник 25"/>
          <p:cNvSpPr/>
          <p:nvPr/>
        </p:nvSpPr>
        <p:spPr bwMode="gray">
          <a:xfrm>
            <a:off x="2073495" y="844084"/>
            <a:ext cx="3653537" cy="362914"/>
          </a:xfrm>
          <a:prstGeom prst="homePlate">
            <a:avLst>
              <a:gd name="adj" fmla="val 14356"/>
            </a:avLst>
          </a:prstGeom>
          <a:solidFill>
            <a:srgbClr val="0077C8"/>
          </a:solidFill>
          <a:ln w="28575">
            <a:solidFill>
              <a:schemeClr val="bg1"/>
            </a:solidFill>
          </a:ln>
          <a:effectLst/>
          <a:extLst/>
        </p:spPr>
        <p:txBody>
          <a:bodyPr vert="horz" wrap="square" lIns="32727" tIns="32727" rIns="32727" bIns="32727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ru-RU" sz="1200" b="1" dirty="0" smtClean="0">
                <a:solidFill>
                  <a:schemeClr val="bg1"/>
                </a:solidFill>
              </a:rPr>
              <a:t>Результаты деятельности за 2013-2018</a:t>
            </a:r>
            <a:endParaRPr lang="en-GB" sz="1200" b="1" dirty="0">
              <a:solidFill>
                <a:schemeClr val="bg1"/>
              </a:solidFill>
              <a:ea typeface="Batang" pitchFamily="18" charset="-127"/>
            </a:endParaRPr>
          </a:p>
        </p:txBody>
      </p:sp>
      <p:sp>
        <p:nvSpPr>
          <p:cNvPr id="29" name="Pentagon 42"/>
          <p:cNvSpPr/>
          <p:nvPr/>
        </p:nvSpPr>
        <p:spPr>
          <a:xfrm flipH="1">
            <a:off x="5595083" y="1239099"/>
            <a:ext cx="3190142" cy="4923503"/>
          </a:xfrm>
          <a:custGeom>
            <a:avLst/>
            <a:gdLst>
              <a:gd name="connsiteX0" fmla="*/ 0 w 5627729"/>
              <a:gd name="connsiteY0" fmla="*/ 0 h 5243119"/>
              <a:gd name="connsiteX1" fmla="*/ 5546198 w 5627729"/>
              <a:gd name="connsiteY1" fmla="*/ 0 h 5243119"/>
              <a:gd name="connsiteX2" fmla="*/ 5627729 w 5627729"/>
              <a:gd name="connsiteY2" fmla="*/ 2621560 h 5243119"/>
              <a:gd name="connsiteX3" fmla="*/ 5546198 w 5627729"/>
              <a:gd name="connsiteY3" fmla="*/ 5243119 h 5243119"/>
              <a:gd name="connsiteX4" fmla="*/ 0 w 5627729"/>
              <a:gd name="connsiteY4" fmla="*/ 5243119 h 5243119"/>
              <a:gd name="connsiteX5" fmla="*/ 0 w 5627729"/>
              <a:gd name="connsiteY5" fmla="*/ 0 h 5243119"/>
              <a:gd name="connsiteX0" fmla="*/ 0 w 5627729"/>
              <a:gd name="connsiteY0" fmla="*/ 0 h 5243119"/>
              <a:gd name="connsiteX1" fmla="*/ 5546198 w 5627729"/>
              <a:gd name="connsiteY1" fmla="*/ 0 h 5243119"/>
              <a:gd name="connsiteX2" fmla="*/ 5627729 w 5627729"/>
              <a:gd name="connsiteY2" fmla="*/ 2621560 h 5243119"/>
              <a:gd name="connsiteX3" fmla="*/ 5546198 w 5627729"/>
              <a:gd name="connsiteY3" fmla="*/ 5243119 h 5243119"/>
              <a:gd name="connsiteX4" fmla="*/ 0 w 5627729"/>
              <a:gd name="connsiteY4" fmla="*/ 5243119 h 5243119"/>
              <a:gd name="connsiteX5" fmla="*/ 91440 w 5627729"/>
              <a:gd name="connsiteY5" fmla="*/ 91440 h 5243119"/>
              <a:gd name="connsiteX0" fmla="*/ 0 w 5627729"/>
              <a:gd name="connsiteY0" fmla="*/ 0 h 5243119"/>
              <a:gd name="connsiteX1" fmla="*/ 5546198 w 5627729"/>
              <a:gd name="connsiteY1" fmla="*/ 0 h 5243119"/>
              <a:gd name="connsiteX2" fmla="*/ 5627729 w 5627729"/>
              <a:gd name="connsiteY2" fmla="*/ 2621560 h 5243119"/>
              <a:gd name="connsiteX3" fmla="*/ 5546198 w 5627729"/>
              <a:gd name="connsiteY3" fmla="*/ 5243119 h 5243119"/>
              <a:gd name="connsiteX4" fmla="*/ 0 w 5627729"/>
              <a:gd name="connsiteY4" fmla="*/ 5243119 h 52431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27729" h="5243119">
                <a:moveTo>
                  <a:pt x="0" y="0"/>
                </a:moveTo>
                <a:lnTo>
                  <a:pt x="5546198" y="0"/>
                </a:lnTo>
                <a:lnTo>
                  <a:pt x="5627729" y="2621560"/>
                </a:lnTo>
                <a:lnTo>
                  <a:pt x="5546198" y="5243119"/>
                </a:lnTo>
                <a:lnTo>
                  <a:pt x="0" y="5243119"/>
                </a:lnTo>
              </a:path>
            </a:pathLst>
          </a:custGeom>
          <a:noFill/>
          <a:ln w="19050" cap="flat" cmpd="sng" algn="ctr">
            <a:solidFill>
              <a:srgbClr val="004C97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tIns="90000" bIns="90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2B2A29"/>
              </a:solidFill>
              <a:effectLst/>
              <a:uLnTx/>
              <a:uFillTx/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9" name="Pentagon 61"/>
          <p:cNvSpPr/>
          <p:nvPr/>
        </p:nvSpPr>
        <p:spPr>
          <a:xfrm>
            <a:off x="2073495" y="1232252"/>
            <a:ext cx="4022506" cy="4930350"/>
          </a:xfrm>
          <a:prstGeom prst="homePlate">
            <a:avLst>
              <a:gd name="adj" fmla="val 14694"/>
            </a:avLst>
          </a:prstGeom>
          <a:solidFill>
            <a:schemeClr val="bg1"/>
          </a:solidFill>
          <a:ln w="15875" cap="flat" cmpd="sng" algn="ctr">
            <a:solidFill>
              <a:schemeClr val="tx2"/>
            </a:solidFill>
            <a:prstDash val="solid"/>
          </a:ln>
          <a:effectLst/>
        </p:spPr>
        <p:txBody>
          <a:bodyPr tIns="90000" bIns="90000" rtlCol="0" anchor="ctr" anchorCtr="0"/>
          <a:lstStyle/>
          <a:p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085882" y="1386265"/>
            <a:ext cx="3641150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b="1" dirty="0">
                <a:solidFill>
                  <a:srgbClr val="004C97"/>
                </a:solidFill>
              </a:rPr>
              <a:t>Снижение совокупных выбросов на 6% </a:t>
            </a:r>
            <a:r>
              <a:rPr lang="ru-RU" sz="1200" dirty="0">
                <a:solidFill>
                  <a:srgbClr val="004C97"/>
                </a:solidFill>
              </a:rPr>
              <a:t>на </a:t>
            </a:r>
            <a:r>
              <a:rPr lang="ru-RU" sz="1200" dirty="0" smtClean="0">
                <a:solidFill>
                  <a:srgbClr val="004C97"/>
                </a:solidFill>
              </a:rPr>
              <a:t>Таймыре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b="1" dirty="0" smtClean="0">
                <a:solidFill>
                  <a:srgbClr val="004C97"/>
                </a:solidFill>
              </a:rPr>
              <a:t>Снижение совокупных выбросов на 2</a:t>
            </a:r>
            <a:r>
              <a:rPr lang="en-US" sz="1200" b="1" dirty="0" smtClean="0">
                <a:solidFill>
                  <a:srgbClr val="004C97"/>
                </a:solidFill>
              </a:rPr>
              <a:t>9</a:t>
            </a:r>
            <a:r>
              <a:rPr lang="ru-RU" sz="1200" b="1" dirty="0" smtClean="0">
                <a:solidFill>
                  <a:srgbClr val="004C97"/>
                </a:solidFill>
              </a:rPr>
              <a:t>%</a:t>
            </a:r>
            <a:r>
              <a:rPr lang="ru-RU" sz="1200" dirty="0" smtClean="0">
                <a:solidFill>
                  <a:srgbClr val="004C97"/>
                </a:solidFill>
              </a:rPr>
              <a:t> на Кольском полуострое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rgbClr val="004C97"/>
                </a:solidFill>
              </a:rPr>
              <a:t>Сокращение </a:t>
            </a:r>
            <a:r>
              <a:rPr lang="ru-RU" sz="1200" dirty="0">
                <a:solidFill>
                  <a:srgbClr val="004C97"/>
                </a:solidFill>
              </a:rPr>
              <a:t>выбросов диоксида серы в черте города Норильск после реализации 1-го этапа экологической </a:t>
            </a:r>
            <a:r>
              <a:rPr lang="ru-RU" sz="1200" dirty="0" smtClean="0">
                <a:solidFill>
                  <a:srgbClr val="004C97"/>
                </a:solidFill>
              </a:rPr>
              <a:t>программы</a:t>
            </a:r>
            <a:r>
              <a:rPr lang="ru-RU" sz="1200" dirty="0">
                <a:solidFill>
                  <a:srgbClr val="004C97"/>
                </a:solidFill>
              </a:rPr>
              <a:t> 30-35% 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 bwMode="auto">
          <a:xfrm flipV="1">
            <a:off x="2153007" y="3079036"/>
            <a:ext cx="3764649" cy="1048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1">
                <a:lumMod val="8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1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</p:cxnSp>
      <p:cxnSp>
        <p:nvCxnSpPr>
          <p:cNvPr id="30" name="Прямая соединительная линия 29"/>
          <p:cNvCxnSpPr/>
          <p:nvPr/>
        </p:nvCxnSpPr>
        <p:spPr bwMode="auto">
          <a:xfrm flipV="1">
            <a:off x="2085882" y="4469882"/>
            <a:ext cx="3764649" cy="1048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1">
                <a:lumMod val="8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1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</p:cxnSp>
      <p:sp>
        <p:nvSpPr>
          <p:cNvPr id="31" name="TextBox 30"/>
          <p:cNvSpPr txBox="1"/>
          <p:nvPr/>
        </p:nvSpPr>
        <p:spPr>
          <a:xfrm>
            <a:off x="6096000" y="1398395"/>
            <a:ext cx="2682315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b="1" dirty="0">
                <a:solidFill>
                  <a:srgbClr val="004C97"/>
                </a:solidFill>
              </a:rPr>
              <a:t>Снижение </a:t>
            </a:r>
            <a:r>
              <a:rPr lang="ru-RU" sz="1200" b="1" dirty="0" smtClean="0">
                <a:solidFill>
                  <a:srgbClr val="004C97"/>
                </a:solidFill>
              </a:rPr>
              <a:t>выбросов диоксида серы на более чем 75%</a:t>
            </a:r>
            <a:r>
              <a:rPr lang="ru-RU" sz="1200" b="1" baseline="30000" dirty="0" smtClean="0">
                <a:solidFill>
                  <a:srgbClr val="004C97"/>
                </a:solidFill>
              </a:rPr>
              <a:t>1</a:t>
            </a:r>
            <a:r>
              <a:rPr lang="ru-RU" sz="1200" b="1" dirty="0" smtClean="0">
                <a:solidFill>
                  <a:srgbClr val="004C97"/>
                </a:solidFill>
              </a:rPr>
              <a:t> к 2023 </a:t>
            </a:r>
            <a:r>
              <a:rPr lang="ru-RU" sz="1200" dirty="0" smtClean="0">
                <a:solidFill>
                  <a:srgbClr val="004C97"/>
                </a:solidFill>
              </a:rPr>
              <a:t>г. в промышленном регионе Норильска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b="1" dirty="0" smtClean="0">
                <a:solidFill>
                  <a:srgbClr val="004C97"/>
                </a:solidFill>
              </a:rPr>
              <a:t>Снижение выбросов диоксида серы  в п. Никель на 50%</a:t>
            </a:r>
            <a:r>
              <a:rPr lang="ru-RU" sz="1200" b="1" baseline="30000" dirty="0">
                <a:solidFill>
                  <a:srgbClr val="004C97"/>
                </a:solidFill>
              </a:rPr>
              <a:t>1</a:t>
            </a:r>
            <a:r>
              <a:rPr lang="ru-RU" sz="1200" b="1" dirty="0" smtClean="0">
                <a:solidFill>
                  <a:srgbClr val="004C97"/>
                </a:solidFill>
              </a:rPr>
              <a:t> </a:t>
            </a:r>
            <a:r>
              <a:rPr lang="ru-RU" sz="1200" dirty="0" smtClean="0">
                <a:solidFill>
                  <a:srgbClr val="004C97"/>
                </a:solidFill>
              </a:rPr>
              <a:t>к 2020 г.</a:t>
            </a:r>
            <a:endParaRPr lang="ru-RU" sz="1200" dirty="0">
              <a:solidFill>
                <a:srgbClr val="004C97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254042" y="6307876"/>
            <a:ext cx="383070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i="1" dirty="0">
                <a:solidFill>
                  <a:schemeClr val="tx2"/>
                </a:solidFill>
                <a:ea typeface="Tahoma" panose="020B0604030504040204" pitchFamily="34" charset="0"/>
              </a:rPr>
              <a:t>Примечание</a:t>
            </a:r>
            <a:r>
              <a:rPr lang="en-US" sz="800" i="1" dirty="0">
                <a:solidFill>
                  <a:schemeClr val="tx2"/>
                </a:solidFill>
                <a:ea typeface="Tahoma" panose="020B0604030504040204" pitchFamily="34" charset="0"/>
              </a:rPr>
              <a:t>: 1. </a:t>
            </a:r>
            <a:r>
              <a:rPr lang="ru-RU" sz="800" i="1" dirty="0">
                <a:solidFill>
                  <a:schemeClr val="tx2"/>
                </a:solidFill>
                <a:ea typeface="Tahoma" panose="020B0604030504040204" pitchFamily="34" charset="0"/>
              </a:rPr>
              <a:t>относительно базы 2015 г.</a:t>
            </a:r>
            <a:endParaRPr lang="en-US" sz="800" i="1" dirty="0">
              <a:solidFill>
                <a:schemeClr val="tx2"/>
              </a:solidFill>
              <a:ea typeface="Tahoma" panose="020B0604030504040204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2170363" y="3134646"/>
            <a:ext cx="3844162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4C97"/>
                </a:solidFill>
              </a:rPr>
              <a:t>Средние </a:t>
            </a:r>
            <a:r>
              <a:rPr lang="ru-RU" sz="1200" b="1" dirty="0">
                <a:solidFill>
                  <a:srgbClr val="004C97"/>
                </a:solidFill>
              </a:rPr>
              <a:t>расходы на социальные программы $200-250 </a:t>
            </a:r>
            <a:r>
              <a:rPr lang="ru-RU" sz="1200" dirty="0">
                <a:solidFill>
                  <a:srgbClr val="004C97"/>
                </a:solidFill>
              </a:rPr>
              <a:t>млн в </a:t>
            </a:r>
            <a:r>
              <a:rPr lang="ru-RU" sz="1200" dirty="0" smtClean="0">
                <a:solidFill>
                  <a:srgbClr val="004C97"/>
                </a:solidFill>
              </a:rPr>
              <a:t>год</a:t>
            </a:r>
            <a:endParaRPr lang="ru-RU" sz="1200" dirty="0">
              <a:solidFill>
                <a:srgbClr val="004C97"/>
              </a:solidFill>
            </a:endParaRPr>
          </a:p>
          <a:p>
            <a:pPr marL="171450" lvl="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b="1" dirty="0" smtClean="0">
                <a:solidFill>
                  <a:srgbClr val="004C97"/>
                </a:solidFill>
              </a:rPr>
              <a:t>Снижение показателя </a:t>
            </a:r>
            <a:r>
              <a:rPr lang="en-US" sz="1200" b="1" dirty="0" smtClean="0">
                <a:solidFill>
                  <a:srgbClr val="004C97"/>
                </a:solidFill>
              </a:rPr>
              <a:t>LTIFR </a:t>
            </a:r>
            <a:r>
              <a:rPr lang="ru-RU" sz="1200" b="1" dirty="0" smtClean="0">
                <a:solidFill>
                  <a:srgbClr val="004C97"/>
                </a:solidFill>
              </a:rPr>
              <a:t>на 60% </a:t>
            </a:r>
            <a:r>
              <a:rPr lang="ru-RU" sz="1200" dirty="0" smtClean="0">
                <a:solidFill>
                  <a:srgbClr val="004C97"/>
                </a:solidFill>
              </a:rPr>
              <a:t>с 2013г </a:t>
            </a:r>
          </a:p>
          <a:p>
            <a:pPr marL="171450" lvl="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dirty="0" smtClean="0">
                <a:solidFill>
                  <a:srgbClr val="004C97"/>
                </a:solidFill>
              </a:rPr>
              <a:t>LTIFR </a:t>
            </a:r>
            <a:r>
              <a:rPr lang="ru-RU" sz="1200" b="1" dirty="0" smtClean="0">
                <a:solidFill>
                  <a:srgbClr val="004C97"/>
                </a:solidFill>
              </a:rPr>
              <a:t>устойчиво ниже </a:t>
            </a:r>
            <a:r>
              <a:rPr lang="ru-RU" sz="1200" b="1" dirty="0">
                <a:solidFill>
                  <a:srgbClr val="004C97"/>
                </a:solidFill>
              </a:rPr>
              <a:t>среднего по </a:t>
            </a:r>
            <a:r>
              <a:rPr lang="ru-RU" sz="1200" b="1" dirty="0" smtClean="0">
                <a:solidFill>
                  <a:srgbClr val="004C97"/>
                </a:solidFill>
              </a:rPr>
              <a:t>отрасли</a:t>
            </a:r>
            <a:endParaRPr lang="en-US" sz="1200" b="1" dirty="0">
              <a:solidFill>
                <a:srgbClr val="004C97"/>
              </a:solidFill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6034555" y="3281240"/>
            <a:ext cx="2777658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4C97"/>
                </a:solidFill>
              </a:rPr>
              <a:t>Достижение </a:t>
            </a:r>
            <a:r>
              <a:rPr lang="ru-RU" sz="1200" b="1" dirty="0">
                <a:solidFill>
                  <a:srgbClr val="004C97"/>
                </a:solidFill>
              </a:rPr>
              <a:t>нулевой смертности </a:t>
            </a:r>
            <a:r>
              <a:rPr lang="ru-RU" sz="1200" dirty="0">
                <a:solidFill>
                  <a:srgbClr val="004C97"/>
                </a:solidFill>
              </a:rPr>
              <a:t>на </a:t>
            </a:r>
            <a:r>
              <a:rPr lang="ru-RU" sz="1200" dirty="0" smtClean="0">
                <a:solidFill>
                  <a:srgbClr val="004C97"/>
                </a:solidFill>
              </a:rPr>
              <a:t>производстве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b="1" dirty="0" smtClean="0">
                <a:solidFill>
                  <a:srgbClr val="004C97"/>
                </a:solidFill>
              </a:rPr>
              <a:t>Снижение </a:t>
            </a:r>
            <a:r>
              <a:rPr lang="ru-RU" sz="1200" b="1" dirty="0">
                <a:solidFill>
                  <a:srgbClr val="004C97"/>
                </a:solidFill>
              </a:rPr>
              <a:t>уровня производственного травматизма на 15% </a:t>
            </a:r>
            <a:r>
              <a:rPr lang="ru-RU" sz="1200" dirty="0">
                <a:solidFill>
                  <a:srgbClr val="004C97"/>
                </a:solidFill>
              </a:rPr>
              <a:t>ежегодно</a:t>
            </a:r>
            <a:endParaRPr lang="en-US" sz="1200" dirty="0">
              <a:solidFill>
                <a:srgbClr val="004C97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2104887" y="4505936"/>
            <a:ext cx="3622145" cy="17235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b="1" dirty="0" smtClean="0">
                <a:solidFill>
                  <a:srgbClr val="004C97"/>
                </a:solidFill>
              </a:rPr>
              <a:t>Сбалансированный Совет директоров</a:t>
            </a:r>
          </a:p>
          <a:p>
            <a:pPr marL="171450" lvl="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rgbClr val="004C97"/>
                </a:solidFill>
              </a:rPr>
              <a:t>Председатель Совета директоров и большинство </a:t>
            </a:r>
            <a:r>
              <a:rPr lang="ru-RU" sz="1200" b="1" dirty="0" smtClean="0">
                <a:solidFill>
                  <a:srgbClr val="004C97"/>
                </a:solidFill>
              </a:rPr>
              <a:t>комитетов </a:t>
            </a:r>
            <a:r>
              <a:rPr lang="ru-RU" sz="1200" dirty="0" smtClean="0">
                <a:solidFill>
                  <a:srgbClr val="004C97"/>
                </a:solidFill>
              </a:rPr>
              <a:t>(3 из 4) – возглавляются</a:t>
            </a:r>
            <a:r>
              <a:rPr lang="ru-RU" sz="1200" b="1" dirty="0" smtClean="0">
                <a:solidFill>
                  <a:srgbClr val="004C97"/>
                </a:solidFill>
              </a:rPr>
              <a:t> независимыми директорами</a:t>
            </a:r>
          </a:p>
          <a:p>
            <a:pPr marL="171450" lvl="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b="1" dirty="0" smtClean="0">
                <a:solidFill>
                  <a:srgbClr val="004C97"/>
                </a:solidFill>
              </a:rPr>
              <a:t>Сильная экспертиза членов Совета Директоров</a:t>
            </a:r>
            <a:r>
              <a:rPr lang="ru-RU" sz="1200" dirty="0" smtClean="0">
                <a:solidFill>
                  <a:srgbClr val="004C97"/>
                </a:solidFill>
              </a:rPr>
              <a:t> (финансы, юриспруденция, экология)</a:t>
            </a:r>
            <a:endParaRPr lang="en-US" sz="1200" dirty="0">
              <a:solidFill>
                <a:srgbClr val="004C97"/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6034555" y="4533094"/>
            <a:ext cx="282406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200" dirty="0" smtClean="0">
              <a:solidFill>
                <a:srgbClr val="004C97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rgbClr val="004C97"/>
                </a:solidFill>
              </a:rPr>
              <a:t>Дальнейшее </a:t>
            </a:r>
            <a:r>
              <a:rPr lang="ru-RU" sz="1200" b="1" dirty="0" smtClean="0">
                <a:solidFill>
                  <a:srgbClr val="004C97"/>
                </a:solidFill>
              </a:rPr>
              <a:t>внедрение лучших практик</a:t>
            </a:r>
            <a:r>
              <a:rPr lang="ru-RU" sz="1200" dirty="0" smtClean="0">
                <a:solidFill>
                  <a:srgbClr val="004C97"/>
                </a:solidFill>
              </a:rPr>
              <a:t> и </a:t>
            </a:r>
            <a:r>
              <a:rPr lang="ru-RU" sz="1200" dirty="0">
                <a:solidFill>
                  <a:srgbClr val="004C97"/>
                </a:solidFill>
              </a:rPr>
              <a:t>совершенствование </a:t>
            </a:r>
            <a:r>
              <a:rPr lang="ru-RU" sz="1200" dirty="0" smtClean="0">
                <a:solidFill>
                  <a:srgbClr val="004C97"/>
                </a:solidFill>
              </a:rPr>
              <a:t>системы </a:t>
            </a:r>
            <a:r>
              <a:rPr lang="ru-RU" sz="1200" dirty="0">
                <a:solidFill>
                  <a:srgbClr val="004C97"/>
                </a:solidFill>
              </a:rPr>
              <a:t>Корпоративного </a:t>
            </a:r>
            <a:r>
              <a:rPr lang="ru-RU" sz="1200" dirty="0" smtClean="0">
                <a:solidFill>
                  <a:srgbClr val="004C97"/>
                </a:solidFill>
              </a:rPr>
              <a:t>управления</a:t>
            </a:r>
            <a:endParaRPr lang="en-US" sz="1200" dirty="0">
              <a:solidFill>
                <a:srgbClr val="004C9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26278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Объект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160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6" name="Объект 2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158" name="Picture 2" descr="G:\Норникель\Презентация 27-07\Attachments_ereminpa@gmail.com_2017-11-12_19-41-43\Фото_эко\Фото_эко\649A6051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50519" y="4676753"/>
            <a:ext cx="2025618" cy="1387137"/>
          </a:xfrm>
          <a:prstGeom prst="rect">
            <a:avLst/>
          </a:prstGeom>
          <a:noFill/>
        </p:spPr>
      </p:pic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913588">
              <a:defRPr/>
            </a:pPr>
            <a:r>
              <a:rPr lang="en-GB" altLang="zh-TW" dirty="0">
                <a:latin typeface="Tahoma" panose="020B0604030504040204" pitchFamily="34" charset="0"/>
              </a:rPr>
              <a:t> </a:t>
            </a:r>
            <a:fld id="{AC2CF52D-F9E0-495D-B83C-D554EBBABCB3}" type="slidenum">
              <a:rPr lang="en-GB" altLang="zh-TW" smtClean="0">
                <a:latin typeface="Tahoma" panose="020B0604030504040204" pitchFamily="34" charset="0"/>
              </a:rPr>
              <a:pPr defTabSz="913588">
                <a:defRPr/>
              </a:pPr>
              <a:t>3</a:t>
            </a:fld>
            <a:endParaRPr lang="en-GB" altLang="zh-TW" dirty="0">
              <a:latin typeface="Tahoma" panose="020B0604030504040204" pitchFamily="34" charset="0"/>
            </a:endParaRPr>
          </a:p>
        </p:txBody>
      </p:sp>
      <p:sp>
        <p:nvSpPr>
          <p:cNvPr id="5" name="Заголовок 7"/>
          <p:cNvSpPr>
            <a:spLocks noGrp="1"/>
          </p:cNvSpPr>
          <p:nvPr>
            <p:ph type="title"/>
          </p:nvPr>
        </p:nvSpPr>
        <p:spPr/>
        <p:txBody>
          <a:bodyPr lIns="0">
            <a:noAutofit/>
          </a:bodyPr>
          <a:lstStyle/>
          <a:p>
            <a:pPr marL="228600" indent="-228600">
              <a:spcBef>
                <a:spcPts val="1000"/>
              </a:spcBef>
            </a:pPr>
            <a:r>
              <a:rPr lang="ru-RU" sz="2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ючевые социальные</a:t>
            </a:r>
            <a:r>
              <a:rPr lang="en-US" sz="2200" dirty="0" smtClean="0">
                <a:solidFill>
                  <a:srgbClr val="0077C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/</a:t>
            </a:r>
            <a:r>
              <a:rPr lang="ru-RU" sz="2200" dirty="0" smtClean="0">
                <a:solidFill>
                  <a:srgbClr val="0077C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лаготворительные проекты</a:t>
            </a:r>
            <a:endParaRPr lang="ru-RU" sz="2200" dirty="0">
              <a:solidFill>
                <a:srgbClr val="0077C8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84996" name="Группа 84995"/>
          <p:cNvGrpSpPr/>
          <p:nvPr/>
        </p:nvGrpSpPr>
        <p:grpSpPr>
          <a:xfrm>
            <a:off x="730039" y="748627"/>
            <a:ext cx="7072609" cy="4175530"/>
            <a:chOff x="3111977" y="2767837"/>
            <a:chExt cx="3973689" cy="2193270"/>
          </a:xfrm>
        </p:grpSpPr>
        <p:grpSp>
          <p:nvGrpSpPr>
            <p:cNvPr id="125" name="Группа 124"/>
            <p:cNvGrpSpPr/>
            <p:nvPr/>
          </p:nvGrpSpPr>
          <p:grpSpPr>
            <a:xfrm>
              <a:off x="3188706" y="2767837"/>
              <a:ext cx="3896960" cy="2193270"/>
              <a:chOff x="1572428" y="1400542"/>
              <a:chExt cx="6140784" cy="3456129"/>
            </a:xfrm>
            <a:solidFill>
              <a:schemeClr val="accent1">
                <a:lumMod val="20000"/>
                <a:lumOff val="80000"/>
              </a:schemeClr>
            </a:solidFill>
          </p:grpSpPr>
          <p:grpSp>
            <p:nvGrpSpPr>
              <p:cNvPr id="6" name="Group 3"/>
              <p:cNvGrpSpPr/>
              <p:nvPr/>
            </p:nvGrpSpPr>
            <p:grpSpPr bwMode="gray">
              <a:xfrm>
                <a:off x="1586476" y="1400542"/>
                <a:ext cx="6126736" cy="3456129"/>
                <a:chOff x="2266950" y="2159000"/>
                <a:chExt cx="5538787" cy="3225801"/>
              </a:xfrm>
              <a:grpFill/>
            </p:grpSpPr>
            <p:sp>
              <p:nvSpPr>
                <p:cNvPr id="7" name="Freeform 6"/>
                <p:cNvSpPr>
                  <a:spLocks/>
                </p:cNvSpPr>
                <p:nvPr/>
              </p:nvSpPr>
              <p:spPr bwMode="gray">
                <a:xfrm>
                  <a:off x="7072313" y="4630738"/>
                  <a:ext cx="244475" cy="595313"/>
                </a:xfrm>
                <a:custGeom>
                  <a:avLst/>
                  <a:gdLst>
                    <a:gd name="T0" fmla="*/ 19 w 154"/>
                    <a:gd name="T1" fmla="*/ 146 h 375"/>
                    <a:gd name="T2" fmla="*/ 36 w 154"/>
                    <a:gd name="T3" fmla="*/ 146 h 375"/>
                    <a:gd name="T4" fmla="*/ 33 w 154"/>
                    <a:gd name="T5" fmla="*/ 118 h 375"/>
                    <a:gd name="T6" fmla="*/ 57 w 154"/>
                    <a:gd name="T7" fmla="*/ 115 h 375"/>
                    <a:gd name="T8" fmla="*/ 96 w 154"/>
                    <a:gd name="T9" fmla="*/ 92 h 375"/>
                    <a:gd name="T10" fmla="*/ 90 w 154"/>
                    <a:gd name="T11" fmla="*/ 68 h 375"/>
                    <a:gd name="T12" fmla="*/ 107 w 154"/>
                    <a:gd name="T13" fmla="*/ 54 h 375"/>
                    <a:gd name="T14" fmla="*/ 107 w 154"/>
                    <a:gd name="T15" fmla="*/ 39 h 375"/>
                    <a:gd name="T16" fmla="*/ 86 w 154"/>
                    <a:gd name="T17" fmla="*/ 32 h 375"/>
                    <a:gd name="T18" fmla="*/ 74 w 154"/>
                    <a:gd name="T19" fmla="*/ 18 h 375"/>
                    <a:gd name="T20" fmla="*/ 96 w 154"/>
                    <a:gd name="T21" fmla="*/ 0 h 375"/>
                    <a:gd name="T22" fmla="*/ 115 w 154"/>
                    <a:gd name="T23" fmla="*/ 24 h 375"/>
                    <a:gd name="T24" fmla="*/ 132 w 154"/>
                    <a:gd name="T25" fmla="*/ 26 h 375"/>
                    <a:gd name="T26" fmla="*/ 148 w 154"/>
                    <a:gd name="T27" fmla="*/ 78 h 375"/>
                    <a:gd name="T28" fmla="*/ 154 w 154"/>
                    <a:gd name="T29" fmla="*/ 119 h 375"/>
                    <a:gd name="T30" fmla="*/ 148 w 154"/>
                    <a:gd name="T31" fmla="*/ 166 h 375"/>
                    <a:gd name="T32" fmla="*/ 148 w 154"/>
                    <a:gd name="T33" fmla="*/ 291 h 375"/>
                    <a:gd name="T34" fmla="*/ 95 w 154"/>
                    <a:gd name="T35" fmla="*/ 338 h 375"/>
                    <a:gd name="T36" fmla="*/ 59 w 154"/>
                    <a:gd name="T37" fmla="*/ 326 h 375"/>
                    <a:gd name="T38" fmla="*/ 61 w 154"/>
                    <a:gd name="T39" fmla="*/ 362 h 375"/>
                    <a:gd name="T40" fmla="*/ 41 w 154"/>
                    <a:gd name="T41" fmla="*/ 375 h 375"/>
                    <a:gd name="T42" fmla="*/ 37 w 154"/>
                    <a:gd name="T43" fmla="*/ 372 h 375"/>
                    <a:gd name="T44" fmla="*/ 41 w 154"/>
                    <a:gd name="T45" fmla="*/ 335 h 375"/>
                    <a:gd name="T46" fmla="*/ 0 w 154"/>
                    <a:gd name="T47" fmla="*/ 279 h 375"/>
                    <a:gd name="T48" fmla="*/ 3 w 154"/>
                    <a:gd name="T49" fmla="*/ 250 h 375"/>
                    <a:gd name="T50" fmla="*/ 35 w 154"/>
                    <a:gd name="T51" fmla="*/ 240 h 375"/>
                    <a:gd name="T52" fmla="*/ 32 w 154"/>
                    <a:gd name="T53" fmla="*/ 182 h 375"/>
                    <a:gd name="T54" fmla="*/ 19 w 154"/>
                    <a:gd name="T55" fmla="*/ 146 h 3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154" h="375">
                      <a:moveTo>
                        <a:pt x="19" y="146"/>
                      </a:moveTo>
                      <a:lnTo>
                        <a:pt x="36" y="146"/>
                      </a:lnTo>
                      <a:lnTo>
                        <a:pt x="33" y="118"/>
                      </a:lnTo>
                      <a:lnTo>
                        <a:pt x="57" y="115"/>
                      </a:lnTo>
                      <a:lnTo>
                        <a:pt x="96" y="92"/>
                      </a:lnTo>
                      <a:lnTo>
                        <a:pt x="90" y="68"/>
                      </a:lnTo>
                      <a:lnTo>
                        <a:pt x="107" y="54"/>
                      </a:lnTo>
                      <a:lnTo>
                        <a:pt x="107" y="39"/>
                      </a:lnTo>
                      <a:lnTo>
                        <a:pt x="86" y="32"/>
                      </a:lnTo>
                      <a:lnTo>
                        <a:pt x="74" y="18"/>
                      </a:lnTo>
                      <a:lnTo>
                        <a:pt x="96" y="0"/>
                      </a:lnTo>
                      <a:lnTo>
                        <a:pt x="115" y="24"/>
                      </a:lnTo>
                      <a:lnTo>
                        <a:pt x="132" y="26"/>
                      </a:lnTo>
                      <a:lnTo>
                        <a:pt x="148" y="78"/>
                      </a:lnTo>
                      <a:lnTo>
                        <a:pt x="154" y="119"/>
                      </a:lnTo>
                      <a:lnTo>
                        <a:pt x="148" y="166"/>
                      </a:lnTo>
                      <a:lnTo>
                        <a:pt x="148" y="291"/>
                      </a:lnTo>
                      <a:lnTo>
                        <a:pt x="95" y="338"/>
                      </a:lnTo>
                      <a:lnTo>
                        <a:pt x="59" y="326"/>
                      </a:lnTo>
                      <a:lnTo>
                        <a:pt x="61" y="362"/>
                      </a:lnTo>
                      <a:lnTo>
                        <a:pt x="41" y="375"/>
                      </a:lnTo>
                      <a:lnTo>
                        <a:pt x="37" y="372"/>
                      </a:lnTo>
                      <a:lnTo>
                        <a:pt x="41" y="335"/>
                      </a:lnTo>
                      <a:lnTo>
                        <a:pt x="0" y="279"/>
                      </a:lnTo>
                      <a:lnTo>
                        <a:pt x="3" y="250"/>
                      </a:lnTo>
                      <a:lnTo>
                        <a:pt x="35" y="240"/>
                      </a:lnTo>
                      <a:lnTo>
                        <a:pt x="32" y="182"/>
                      </a:lnTo>
                      <a:lnTo>
                        <a:pt x="19" y="146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" name="Freeform 7"/>
                <p:cNvSpPr>
                  <a:spLocks/>
                </p:cNvSpPr>
                <p:nvPr/>
              </p:nvSpPr>
              <p:spPr bwMode="gray">
                <a:xfrm>
                  <a:off x="6134100" y="4357688"/>
                  <a:ext cx="742950" cy="495300"/>
                </a:xfrm>
                <a:custGeom>
                  <a:avLst/>
                  <a:gdLst>
                    <a:gd name="T0" fmla="*/ 291 w 468"/>
                    <a:gd name="T1" fmla="*/ 16 h 312"/>
                    <a:gd name="T2" fmla="*/ 320 w 468"/>
                    <a:gd name="T3" fmla="*/ 0 h 312"/>
                    <a:gd name="T4" fmla="*/ 344 w 468"/>
                    <a:gd name="T5" fmla="*/ 10 h 312"/>
                    <a:gd name="T6" fmla="*/ 327 w 468"/>
                    <a:gd name="T7" fmla="*/ 50 h 312"/>
                    <a:gd name="T8" fmla="*/ 330 w 468"/>
                    <a:gd name="T9" fmla="*/ 67 h 312"/>
                    <a:gd name="T10" fmla="*/ 320 w 468"/>
                    <a:gd name="T11" fmla="*/ 79 h 312"/>
                    <a:gd name="T12" fmla="*/ 331 w 468"/>
                    <a:gd name="T13" fmla="*/ 99 h 312"/>
                    <a:gd name="T14" fmla="*/ 348 w 468"/>
                    <a:gd name="T15" fmla="*/ 88 h 312"/>
                    <a:gd name="T16" fmla="*/ 378 w 468"/>
                    <a:gd name="T17" fmla="*/ 108 h 312"/>
                    <a:gd name="T18" fmla="*/ 400 w 468"/>
                    <a:gd name="T19" fmla="*/ 91 h 312"/>
                    <a:gd name="T20" fmla="*/ 410 w 468"/>
                    <a:gd name="T21" fmla="*/ 59 h 312"/>
                    <a:gd name="T22" fmla="*/ 436 w 468"/>
                    <a:gd name="T23" fmla="*/ 59 h 312"/>
                    <a:gd name="T24" fmla="*/ 438 w 468"/>
                    <a:gd name="T25" fmla="*/ 39 h 312"/>
                    <a:gd name="T26" fmla="*/ 460 w 468"/>
                    <a:gd name="T27" fmla="*/ 64 h 312"/>
                    <a:gd name="T28" fmla="*/ 463 w 468"/>
                    <a:gd name="T29" fmla="*/ 94 h 312"/>
                    <a:gd name="T30" fmla="*/ 435 w 468"/>
                    <a:gd name="T31" fmla="*/ 100 h 312"/>
                    <a:gd name="T32" fmla="*/ 447 w 468"/>
                    <a:gd name="T33" fmla="*/ 122 h 312"/>
                    <a:gd name="T34" fmla="*/ 431 w 468"/>
                    <a:gd name="T35" fmla="*/ 132 h 312"/>
                    <a:gd name="T36" fmla="*/ 431 w 468"/>
                    <a:gd name="T37" fmla="*/ 156 h 312"/>
                    <a:gd name="T38" fmla="*/ 410 w 468"/>
                    <a:gd name="T39" fmla="*/ 174 h 312"/>
                    <a:gd name="T40" fmla="*/ 416 w 468"/>
                    <a:gd name="T41" fmla="*/ 182 h 312"/>
                    <a:gd name="T42" fmla="*/ 416 w 468"/>
                    <a:gd name="T43" fmla="*/ 223 h 312"/>
                    <a:gd name="T44" fmla="*/ 452 w 468"/>
                    <a:gd name="T45" fmla="*/ 228 h 312"/>
                    <a:gd name="T46" fmla="*/ 468 w 468"/>
                    <a:gd name="T47" fmla="*/ 270 h 312"/>
                    <a:gd name="T48" fmla="*/ 458 w 468"/>
                    <a:gd name="T49" fmla="*/ 298 h 312"/>
                    <a:gd name="T50" fmla="*/ 360 w 468"/>
                    <a:gd name="T51" fmla="*/ 312 h 312"/>
                    <a:gd name="T52" fmla="*/ 222 w 468"/>
                    <a:gd name="T53" fmla="*/ 200 h 312"/>
                    <a:gd name="T54" fmla="*/ 183 w 468"/>
                    <a:gd name="T55" fmla="*/ 206 h 312"/>
                    <a:gd name="T56" fmla="*/ 124 w 468"/>
                    <a:gd name="T57" fmla="*/ 236 h 312"/>
                    <a:gd name="T58" fmla="*/ 103 w 468"/>
                    <a:gd name="T59" fmla="*/ 208 h 312"/>
                    <a:gd name="T60" fmla="*/ 102 w 468"/>
                    <a:gd name="T61" fmla="*/ 187 h 312"/>
                    <a:gd name="T62" fmla="*/ 88 w 468"/>
                    <a:gd name="T63" fmla="*/ 166 h 312"/>
                    <a:gd name="T64" fmla="*/ 86 w 468"/>
                    <a:gd name="T65" fmla="*/ 144 h 312"/>
                    <a:gd name="T66" fmla="*/ 67 w 468"/>
                    <a:gd name="T67" fmla="*/ 148 h 312"/>
                    <a:gd name="T68" fmla="*/ 58 w 468"/>
                    <a:gd name="T69" fmla="*/ 130 h 312"/>
                    <a:gd name="T70" fmla="*/ 28 w 468"/>
                    <a:gd name="T71" fmla="*/ 154 h 312"/>
                    <a:gd name="T72" fmla="*/ 30 w 468"/>
                    <a:gd name="T73" fmla="*/ 120 h 312"/>
                    <a:gd name="T74" fmla="*/ 0 w 468"/>
                    <a:gd name="T75" fmla="*/ 123 h 312"/>
                    <a:gd name="T76" fmla="*/ 0 w 468"/>
                    <a:gd name="T77" fmla="*/ 103 h 312"/>
                    <a:gd name="T78" fmla="*/ 31 w 468"/>
                    <a:gd name="T79" fmla="*/ 92 h 312"/>
                    <a:gd name="T80" fmla="*/ 48 w 468"/>
                    <a:gd name="T81" fmla="*/ 103 h 312"/>
                    <a:gd name="T82" fmla="*/ 64 w 468"/>
                    <a:gd name="T83" fmla="*/ 91 h 312"/>
                    <a:gd name="T84" fmla="*/ 88 w 468"/>
                    <a:gd name="T85" fmla="*/ 98 h 312"/>
                    <a:gd name="T86" fmla="*/ 111 w 468"/>
                    <a:gd name="T87" fmla="*/ 86 h 312"/>
                    <a:gd name="T88" fmla="*/ 138 w 468"/>
                    <a:gd name="T89" fmla="*/ 100 h 312"/>
                    <a:gd name="T90" fmla="*/ 159 w 468"/>
                    <a:gd name="T91" fmla="*/ 91 h 312"/>
                    <a:gd name="T92" fmla="*/ 183 w 468"/>
                    <a:gd name="T93" fmla="*/ 94 h 312"/>
                    <a:gd name="T94" fmla="*/ 195 w 468"/>
                    <a:gd name="T95" fmla="*/ 82 h 312"/>
                    <a:gd name="T96" fmla="*/ 230 w 468"/>
                    <a:gd name="T97" fmla="*/ 62 h 312"/>
                    <a:gd name="T98" fmla="*/ 250 w 468"/>
                    <a:gd name="T99" fmla="*/ 62 h 312"/>
                    <a:gd name="T100" fmla="*/ 259 w 468"/>
                    <a:gd name="T101" fmla="*/ 35 h 312"/>
                    <a:gd name="T102" fmla="*/ 291 w 468"/>
                    <a:gd name="T103" fmla="*/ 16 h 3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468" h="312">
                      <a:moveTo>
                        <a:pt x="291" y="16"/>
                      </a:moveTo>
                      <a:lnTo>
                        <a:pt x="320" y="0"/>
                      </a:lnTo>
                      <a:lnTo>
                        <a:pt x="344" y="10"/>
                      </a:lnTo>
                      <a:lnTo>
                        <a:pt x="327" y="50"/>
                      </a:lnTo>
                      <a:lnTo>
                        <a:pt x="330" y="67"/>
                      </a:lnTo>
                      <a:lnTo>
                        <a:pt x="320" y="79"/>
                      </a:lnTo>
                      <a:lnTo>
                        <a:pt x="331" y="99"/>
                      </a:lnTo>
                      <a:lnTo>
                        <a:pt x="348" y="88"/>
                      </a:lnTo>
                      <a:lnTo>
                        <a:pt x="378" y="108"/>
                      </a:lnTo>
                      <a:lnTo>
                        <a:pt x="400" y="91"/>
                      </a:lnTo>
                      <a:lnTo>
                        <a:pt x="410" y="59"/>
                      </a:lnTo>
                      <a:lnTo>
                        <a:pt x="436" y="59"/>
                      </a:lnTo>
                      <a:lnTo>
                        <a:pt x="438" y="39"/>
                      </a:lnTo>
                      <a:lnTo>
                        <a:pt x="460" y="64"/>
                      </a:lnTo>
                      <a:lnTo>
                        <a:pt x="463" y="94"/>
                      </a:lnTo>
                      <a:lnTo>
                        <a:pt x="435" y="100"/>
                      </a:lnTo>
                      <a:lnTo>
                        <a:pt x="447" y="122"/>
                      </a:lnTo>
                      <a:lnTo>
                        <a:pt x="431" y="132"/>
                      </a:lnTo>
                      <a:lnTo>
                        <a:pt x="431" y="156"/>
                      </a:lnTo>
                      <a:lnTo>
                        <a:pt x="410" y="174"/>
                      </a:lnTo>
                      <a:lnTo>
                        <a:pt x="416" y="182"/>
                      </a:lnTo>
                      <a:lnTo>
                        <a:pt x="416" y="223"/>
                      </a:lnTo>
                      <a:lnTo>
                        <a:pt x="452" y="228"/>
                      </a:lnTo>
                      <a:lnTo>
                        <a:pt x="468" y="270"/>
                      </a:lnTo>
                      <a:lnTo>
                        <a:pt x="458" y="298"/>
                      </a:lnTo>
                      <a:lnTo>
                        <a:pt x="360" y="312"/>
                      </a:lnTo>
                      <a:lnTo>
                        <a:pt x="222" y="200"/>
                      </a:lnTo>
                      <a:lnTo>
                        <a:pt x="183" y="206"/>
                      </a:lnTo>
                      <a:lnTo>
                        <a:pt x="124" y="236"/>
                      </a:lnTo>
                      <a:lnTo>
                        <a:pt x="103" y="208"/>
                      </a:lnTo>
                      <a:lnTo>
                        <a:pt x="102" y="187"/>
                      </a:lnTo>
                      <a:lnTo>
                        <a:pt x="88" y="166"/>
                      </a:lnTo>
                      <a:lnTo>
                        <a:pt x="86" y="144"/>
                      </a:lnTo>
                      <a:lnTo>
                        <a:pt x="67" y="148"/>
                      </a:lnTo>
                      <a:lnTo>
                        <a:pt x="58" y="130"/>
                      </a:lnTo>
                      <a:lnTo>
                        <a:pt x="28" y="154"/>
                      </a:lnTo>
                      <a:lnTo>
                        <a:pt x="30" y="120"/>
                      </a:lnTo>
                      <a:lnTo>
                        <a:pt x="0" y="123"/>
                      </a:lnTo>
                      <a:lnTo>
                        <a:pt x="0" y="103"/>
                      </a:lnTo>
                      <a:lnTo>
                        <a:pt x="31" y="92"/>
                      </a:lnTo>
                      <a:lnTo>
                        <a:pt x="48" y="103"/>
                      </a:lnTo>
                      <a:lnTo>
                        <a:pt x="64" y="91"/>
                      </a:lnTo>
                      <a:lnTo>
                        <a:pt x="88" y="98"/>
                      </a:lnTo>
                      <a:lnTo>
                        <a:pt x="111" y="86"/>
                      </a:lnTo>
                      <a:lnTo>
                        <a:pt x="138" y="100"/>
                      </a:lnTo>
                      <a:lnTo>
                        <a:pt x="159" y="91"/>
                      </a:lnTo>
                      <a:lnTo>
                        <a:pt x="183" y="94"/>
                      </a:lnTo>
                      <a:lnTo>
                        <a:pt x="195" y="82"/>
                      </a:lnTo>
                      <a:lnTo>
                        <a:pt x="230" y="62"/>
                      </a:lnTo>
                      <a:lnTo>
                        <a:pt x="250" y="62"/>
                      </a:lnTo>
                      <a:lnTo>
                        <a:pt x="259" y="35"/>
                      </a:lnTo>
                      <a:lnTo>
                        <a:pt x="291" y="16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" name="Freeform 8"/>
                <p:cNvSpPr>
                  <a:spLocks/>
                </p:cNvSpPr>
                <p:nvPr/>
              </p:nvSpPr>
              <p:spPr bwMode="gray">
                <a:xfrm>
                  <a:off x="6508750" y="3619500"/>
                  <a:ext cx="784225" cy="1268413"/>
                </a:xfrm>
                <a:custGeom>
                  <a:avLst/>
                  <a:gdLst>
                    <a:gd name="T0" fmla="*/ 348 w 494"/>
                    <a:gd name="T1" fmla="*/ 715 h 799"/>
                    <a:gd name="T2" fmla="*/ 310 w 494"/>
                    <a:gd name="T3" fmla="*/ 768 h 799"/>
                    <a:gd name="T4" fmla="*/ 222 w 494"/>
                    <a:gd name="T5" fmla="*/ 763 h 799"/>
                    <a:gd name="T6" fmla="*/ 216 w 494"/>
                    <a:gd name="T7" fmla="*/ 693 h 799"/>
                    <a:gd name="T8" fmla="*/ 180 w 494"/>
                    <a:gd name="T9" fmla="*/ 647 h 799"/>
                    <a:gd name="T10" fmla="*/ 195 w 494"/>
                    <a:gd name="T11" fmla="*/ 621 h 799"/>
                    <a:gd name="T12" fmla="*/ 211 w 494"/>
                    <a:gd name="T13" fmla="*/ 587 h 799"/>
                    <a:gd name="T14" fmla="*/ 227 w 494"/>
                    <a:gd name="T15" fmla="*/ 559 h 799"/>
                    <a:gd name="T16" fmla="*/ 202 w 494"/>
                    <a:gd name="T17" fmla="*/ 504 h 799"/>
                    <a:gd name="T18" fmla="*/ 174 w 494"/>
                    <a:gd name="T19" fmla="*/ 524 h 799"/>
                    <a:gd name="T20" fmla="*/ 142 w 494"/>
                    <a:gd name="T21" fmla="*/ 573 h 799"/>
                    <a:gd name="T22" fmla="*/ 95 w 494"/>
                    <a:gd name="T23" fmla="*/ 564 h 799"/>
                    <a:gd name="T24" fmla="*/ 94 w 494"/>
                    <a:gd name="T25" fmla="*/ 532 h 799"/>
                    <a:gd name="T26" fmla="*/ 108 w 494"/>
                    <a:gd name="T27" fmla="*/ 475 h 799"/>
                    <a:gd name="T28" fmla="*/ 55 w 494"/>
                    <a:gd name="T29" fmla="*/ 481 h 799"/>
                    <a:gd name="T30" fmla="*/ 47 w 494"/>
                    <a:gd name="T31" fmla="*/ 423 h 799"/>
                    <a:gd name="T32" fmla="*/ 27 w 494"/>
                    <a:gd name="T33" fmla="*/ 389 h 799"/>
                    <a:gd name="T34" fmla="*/ 15 w 494"/>
                    <a:gd name="T35" fmla="*/ 355 h 799"/>
                    <a:gd name="T36" fmla="*/ 50 w 494"/>
                    <a:gd name="T37" fmla="*/ 280 h 799"/>
                    <a:gd name="T38" fmla="*/ 68 w 494"/>
                    <a:gd name="T39" fmla="*/ 253 h 799"/>
                    <a:gd name="T40" fmla="*/ 56 w 494"/>
                    <a:gd name="T41" fmla="*/ 153 h 799"/>
                    <a:gd name="T42" fmla="*/ 44 w 494"/>
                    <a:gd name="T43" fmla="*/ 91 h 799"/>
                    <a:gd name="T44" fmla="*/ 76 w 494"/>
                    <a:gd name="T45" fmla="*/ 71 h 799"/>
                    <a:gd name="T46" fmla="*/ 132 w 494"/>
                    <a:gd name="T47" fmla="*/ 44 h 799"/>
                    <a:gd name="T48" fmla="*/ 156 w 494"/>
                    <a:gd name="T49" fmla="*/ 0 h 799"/>
                    <a:gd name="T50" fmla="*/ 200 w 494"/>
                    <a:gd name="T51" fmla="*/ 71 h 799"/>
                    <a:gd name="T52" fmla="*/ 254 w 494"/>
                    <a:gd name="T53" fmla="*/ 59 h 799"/>
                    <a:gd name="T54" fmla="*/ 251 w 494"/>
                    <a:gd name="T55" fmla="*/ 85 h 799"/>
                    <a:gd name="T56" fmla="*/ 234 w 494"/>
                    <a:gd name="T57" fmla="*/ 103 h 799"/>
                    <a:gd name="T58" fmla="*/ 186 w 494"/>
                    <a:gd name="T59" fmla="*/ 233 h 799"/>
                    <a:gd name="T60" fmla="*/ 186 w 494"/>
                    <a:gd name="T61" fmla="*/ 369 h 799"/>
                    <a:gd name="T62" fmla="*/ 204 w 494"/>
                    <a:gd name="T63" fmla="*/ 443 h 799"/>
                    <a:gd name="T64" fmla="*/ 231 w 494"/>
                    <a:gd name="T65" fmla="*/ 460 h 799"/>
                    <a:gd name="T66" fmla="*/ 239 w 494"/>
                    <a:gd name="T67" fmla="*/ 431 h 799"/>
                    <a:gd name="T68" fmla="*/ 275 w 494"/>
                    <a:gd name="T69" fmla="*/ 419 h 799"/>
                    <a:gd name="T70" fmla="*/ 299 w 494"/>
                    <a:gd name="T71" fmla="*/ 381 h 799"/>
                    <a:gd name="T72" fmla="*/ 404 w 494"/>
                    <a:gd name="T73" fmla="*/ 455 h 799"/>
                    <a:gd name="T74" fmla="*/ 470 w 494"/>
                    <a:gd name="T75" fmla="*/ 573 h 799"/>
                    <a:gd name="T76" fmla="*/ 487 w 494"/>
                    <a:gd name="T77" fmla="*/ 663 h 799"/>
                    <a:gd name="T78" fmla="*/ 451 w 494"/>
                    <a:gd name="T79" fmla="*/ 637 h 799"/>
                    <a:gd name="T80" fmla="*/ 441 w 494"/>
                    <a:gd name="T81" fmla="*/ 669 h 799"/>
                    <a:gd name="T82" fmla="*/ 462 w 494"/>
                    <a:gd name="T83" fmla="*/ 691 h 799"/>
                    <a:gd name="T84" fmla="*/ 451 w 494"/>
                    <a:gd name="T85" fmla="*/ 729 h 799"/>
                    <a:gd name="T86" fmla="*/ 388 w 494"/>
                    <a:gd name="T87" fmla="*/ 755 h 799"/>
                    <a:gd name="T88" fmla="*/ 374 w 494"/>
                    <a:gd name="T89" fmla="*/ 783 h 799"/>
                    <a:gd name="T90" fmla="*/ 370 w 494"/>
                    <a:gd name="T91" fmla="*/ 744 h 7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494" h="799">
                      <a:moveTo>
                        <a:pt x="359" y="729"/>
                      </a:moveTo>
                      <a:lnTo>
                        <a:pt x="348" y="715"/>
                      </a:lnTo>
                      <a:lnTo>
                        <a:pt x="314" y="744"/>
                      </a:lnTo>
                      <a:lnTo>
                        <a:pt x="310" y="768"/>
                      </a:lnTo>
                      <a:lnTo>
                        <a:pt x="268" y="799"/>
                      </a:lnTo>
                      <a:lnTo>
                        <a:pt x="222" y="763"/>
                      </a:lnTo>
                      <a:lnTo>
                        <a:pt x="232" y="735"/>
                      </a:lnTo>
                      <a:lnTo>
                        <a:pt x="216" y="693"/>
                      </a:lnTo>
                      <a:lnTo>
                        <a:pt x="180" y="688"/>
                      </a:lnTo>
                      <a:lnTo>
                        <a:pt x="180" y="647"/>
                      </a:lnTo>
                      <a:lnTo>
                        <a:pt x="174" y="639"/>
                      </a:lnTo>
                      <a:lnTo>
                        <a:pt x="195" y="621"/>
                      </a:lnTo>
                      <a:lnTo>
                        <a:pt x="195" y="597"/>
                      </a:lnTo>
                      <a:lnTo>
                        <a:pt x="211" y="587"/>
                      </a:lnTo>
                      <a:lnTo>
                        <a:pt x="199" y="565"/>
                      </a:lnTo>
                      <a:lnTo>
                        <a:pt x="227" y="559"/>
                      </a:lnTo>
                      <a:lnTo>
                        <a:pt x="224" y="529"/>
                      </a:lnTo>
                      <a:lnTo>
                        <a:pt x="202" y="504"/>
                      </a:lnTo>
                      <a:lnTo>
                        <a:pt x="200" y="524"/>
                      </a:lnTo>
                      <a:lnTo>
                        <a:pt x="174" y="524"/>
                      </a:lnTo>
                      <a:lnTo>
                        <a:pt x="164" y="556"/>
                      </a:lnTo>
                      <a:lnTo>
                        <a:pt x="142" y="573"/>
                      </a:lnTo>
                      <a:lnTo>
                        <a:pt x="112" y="553"/>
                      </a:lnTo>
                      <a:lnTo>
                        <a:pt x="95" y="564"/>
                      </a:lnTo>
                      <a:lnTo>
                        <a:pt x="84" y="544"/>
                      </a:lnTo>
                      <a:lnTo>
                        <a:pt x="94" y="532"/>
                      </a:lnTo>
                      <a:lnTo>
                        <a:pt x="91" y="515"/>
                      </a:lnTo>
                      <a:lnTo>
                        <a:pt x="108" y="475"/>
                      </a:lnTo>
                      <a:lnTo>
                        <a:pt x="84" y="465"/>
                      </a:lnTo>
                      <a:lnTo>
                        <a:pt x="55" y="481"/>
                      </a:lnTo>
                      <a:lnTo>
                        <a:pt x="42" y="455"/>
                      </a:lnTo>
                      <a:lnTo>
                        <a:pt x="47" y="423"/>
                      </a:lnTo>
                      <a:lnTo>
                        <a:pt x="27" y="423"/>
                      </a:lnTo>
                      <a:lnTo>
                        <a:pt x="27" y="389"/>
                      </a:lnTo>
                      <a:lnTo>
                        <a:pt x="6" y="375"/>
                      </a:lnTo>
                      <a:lnTo>
                        <a:pt x="15" y="355"/>
                      </a:lnTo>
                      <a:lnTo>
                        <a:pt x="0" y="301"/>
                      </a:lnTo>
                      <a:lnTo>
                        <a:pt x="50" y="280"/>
                      </a:lnTo>
                      <a:lnTo>
                        <a:pt x="47" y="253"/>
                      </a:lnTo>
                      <a:lnTo>
                        <a:pt x="68" y="253"/>
                      </a:lnTo>
                      <a:lnTo>
                        <a:pt x="88" y="212"/>
                      </a:lnTo>
                      <a:lnTo>
                        <a:pt x="56" y="153"/>
                      </a:lnTo>
                      <a:lnTo>
                        <a:pt x="66" y="112"/>
                      </a:lnTo>
                      <a:lnTo>
                        <a:pt x="44" y="91"/>
                      </a:lnTo>
                      <a:lnTo>
                        <a:pt x="47" y="61"/>
                      </a:lnTo>
                      <a:lnTo>
                        <a:pt x="76" y="71"/>
                      </a:lnTo>
                      <a:lnTo>
                        <a:pt x="100" y="53"/>
                      </a:lnTo>
                      <a:lnTo>
                        <a:pt x="132" y="44"/>
                      </a:lnTo>
                      <a:lnTo>
                        <a:pt x="128" y="24"/>
                      </a:lnTo>
                      <a:lnTo>
                        <a:pt x="156" y="0"/>
                      </a:lnTo>
                      <a:lnTo>
                        <a:pt x="195" y="23"/>
                      </a:lnTo>
                      <a:lnTo>
                        <a:pt x="200" y="71"/>
                      </a:lnTo>
                      <a:lnTo>
                        <a:pt x="222" y="56"/>
                      </a:lnTo>
                      <a:lnTo>
                        <a:pt x="254" y="59"/>
                      </a:lnTo>
                      <a:lnTo>
                        <a:pt x="258" y="79"/>
                      </a:lnTo>
                      <a:lnTo>
                        <a:pt x="251" y="85"/>
                      </a:lnTo>
                      <a:lnTo>
                        <a:pt x="248" y="103"/>
                      </a:lnTo>
                      <a:lnTo>
                        <a:pt x="234" y="103"/>
                      </a:lnTo>
                      <a:lnTo>
                        <a:pt x="186" y="163"/>
                      </a:lnTo>
                      <a:lnTo>
                        <a:pt x="186" y="233"/>
                      </a:lnTo>
                      <a:lnTo>
                        <a:pt x="198" y="260"/>
                      </a:lnTo>
                      <a:lnTo>
                        <a:pt x="186" y="369"/>
                      </a:lnTo>
                      <a:lnTo>
                        <a:pt x="166" y="443"/>
                      </a:lnTo>
                      <a:lnTo>
                        <a:pt x="204" y="443"/>
                      </a:lnTo>
                      <a:lnTo>
                        <a:pt x="222" y="428"/>
                      </a:lnTo>
                      <a:lnTo>
                        <a:pt x="231" y="460"/>
                      </a:lnTo>
                      <a:lnTo>
                        <a:pt x="251" y="455"/>
                      </a:lnTo>
                      <a:lnTo>
                        <a:pt x="239" y="431"/>
                      </a:lnTo>
                      <a:lnTo>
                        <a:pt x="275" y="445"/>
                      </a:lnTo>
                      <a:lnTo>
                        <a:pt x="275" y="419"/>
                      </a:lnTo>
                      <a:lnTo>
                        <a:pt x="263" y="404"/>
                      </a:lnTo>
                      <a:lnTo>
                        <a:pt x="299" y="381"/>
                      </a:lnTo>
                      <a:lnTo>
                        <a:pt x="360" y="401"/>
                      </a:lnTo>
                      <a:lnTo>
                        <a:pt x="404" y="455"/>
                      </a:lnTo>
                      <a:lnTo>
                        <a:pt x="402" y="479"/>
                      </a:lnTo>
                      <a:lnTo>
                        <a:pt x="470" y="573"/>
                      </a:lnTo>
                      <a:lnTo>
                        <a:pt x="494" y="605"/>
                      </a:lnTo>
                      <a:lnTo>
                        <a:pt x="487" y="663"/>
                      </a:lnTo>
                      <a:lnTo>
                        <a:pt x="470" y="661"/>
                      </a:lnTo>
                      <a:lnTo>
                        <a:pt x="451" y="637"/>
                      </a:lnTo>
                      <a:lnTo>
                        <a:pt x="429" y="655"/>
                      </a:lnTo>
                      <a:lnTo>
                        <a:pt x="441" y="669"/>
                      </a:lnTo>
                      <a:lnTo>
                        <a:pt x="462" y="676"/>
                      </a:lnTo>
                      <a:lnTo>
                        <a:pt x="462" y="691"/>
                      </a:lnTo>
                      <a:lnTo>
                        <a:pt x="445" y="705"/>
                      </a:lnTo>
                      <a:lnTo>
                        <a:pt x="451" y="729"/>
                      </a:lnTo>
                      <a:lnTo>
                        <a:pt x="412" y="752"/>
                      </a:lnTo>
                      <a:lnTo>
                        <a:pt x="388" y="755"/>
                      </a:lnTo>
                      <a:lnTo>
                        <a:pt x="391" y="783"/>
                      </a:lnTo>
                      <a:lnTo>
                        <a:pt x="374" y="783"/>
                      </a:lnTo>
                      <a:lnTo>
                        <a:pt x="360" y="756"/>
                      </a:lnTo>
                      <a:lnTo>
                        <a:pt x="370" y="744"/>
                      </a:lnTo>
                      <a:lnTo>
                        <a:pt x="359" y="729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" name="Freeform 9"/>
                <p:cNvSpPr>
                  <a:spLocks/>
                </p:cNvSpPr>
                <p:nvPr/>
              </p:nvSpPr>
              <p:spPr bwMode="gray">
                <a:xfrm>
                  <a:off x="6877050" y="4732338"/>
                  <a:ext cx="206375" cy="53975"/>
                </a:xfrm>
                <a:custGeom>
                  <a:avLst/>
                  <a:gdLst>
                    <a:gd name="T0" fmla="*/ 127 w 130"/>
                    <a:gd name="T1" fmla="*/ 28 h 34"/>
                    <a:gd name="T2" fmla="*/ 130 w 130"/>
                    <a:gd name="T3" fmla="*/ 19 h 34"/>
                    <a:gd name="T4" fmla="*/ 120 w 130"/>
                    <a:gd name="T5" fmla="*/ 0 h 34"/>
                    <a:gd name="T6" fmla="*/ 104 w 130"/>
                    <a:gd name="T7" fmla="*/ 0 h 34"/>
                    <a:gd name="T8" fmla="*/ 83 w 130"/>
                    <a:gd name="T9" fmla="*/ 11 h 34"/>
                    <a:gd name="T10" fmla="*/ 52 w 130"/>
                    <a:gd name="T11" fmla="*/ 2 h 34"/>
                    <a:gd name="T12" fmla="*/ 28 w 130"/>
                    <a:gd name="T13" fmla="*/ 12 h 34"/>
                    <a:gd name="T14" fmla="*/ 0 w 130"/>
                    <a:gd name="T15" fmla="*/ 34 h 34"/>
                    <a:gd name="T16" fmla="*/ 127 w 130"/>
                    <a:gd name="T17" fmla="*/ 28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30" h="34">
                      <a:moveTo>
                        <a:pt x="127" y="28"/>
                      </a:moveTo>
                      <a:lnTo>
                        <a:pt x="130" y="19"/>
                      </a:lnTo>
                      <a:lnTo>
                        <a:pt x="120" y="0"/>
                      </a:lnTo>
                      <a:lnTo>
                        <a:pt x="104" y="0"/>
                      </a:lnTo>
                      <a:lnTo>
                        <a:pt x="83" y="11"/>
                      </a:lnTo>
                      <a:lnTo>
                        <a:pt x="52" y="2"/>
                      </a:lnTo>
                      <a:lnTo>
                        <a:pt x="28" y="12"/>
                      </a:lnTo>
                      <a:lnTo>
                        <a:pt x="0" y="34"/>
                      </a:lnTo>
                      <a:lnTo>
                        <a:pt x="127" y="28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" name="Freeform 10"/>
                <p:cNvSpPr>
                  <a:spLocks/>
                </p:cNvSpPr>
                <p:nvPr/>
              </p:nvSpPr>
              <p:spPr bwMode="gray">
                <a:xfrm>
                  <a:off x="5778500" y="4451350"/>
                  <a:ext cx="552450" cy="800100"/>
                </a:xfrm>
                <a:custGeom>
                  <a:avLst/>
                  <a:gdLst>
                    <a:gd name="T0" fmla="*/ 0 w 348"/>
                    <a:gd name="T1" fmla="*/ 481 h 504"/>
                    <a:gd name="T2" fmla="*/ 15 w 348"/>
                    <a:gd name="T3" fmla="*/ 484 h 504"/>
                    <a:gd name="T4" fmla="*/ 23 w 348"/>
                    <a:gd name="T5" fmla="*/ 504 h 504"/>
                    <a:gd name="T6" fmla="*/ 127 w 348"/>
                    <a:gd name="T7" fmla="*/ 484 h 504"/>
                    <a:gd name="T8" fmla="*/ 166 w 348"/>
                    <a:gd name="T9" fmla="*/ 451 h 504"/>
                    <a:gd name="T10" fmla="*/ 207 w 348"/>
                    <a:gd name="T11" fmla="*/ 399 h 504"/>
                    <a:gd name="T12" fmla="*/ 242 w 348"/>
                    <a:gd name="T13" fmla="*/ 407 h 504"/>
                    <a:gd name="T14" fmla="*/ 274 w 348"/>
                    <a:gd name="T15" fmla="*/ 404 h 504"/>
                    <a:gd name="T16" fmla="*/ 319 w 348"/>
                    <a:gd name="T17" fmla="*/ 399 h 504"/>
                    <a:gd name="T18" fmla="*/ 346 w 348"/>
                    <a:gd name="T19" fmla="*/ 357 h 504"/>
                    <a:gd name="T20" fmla="*/ 336 w 348"/>
                    <a:gd name="T21" fmla="*/ 271 h 504"/>
                    <a:gd name="T22" fmla="*/ 348 w 348"/>
                    <a:gd name="T23" fmla="*/ 253 h 504"/>
                    <a:gd name="T24" fmla="*/ 336 w 348"/>
                    <a:gd name="T25" fmla="*/ 229 h 504"/>
                    <a:gd name="T26" fmla="*/ 322 w 348"/>
                    <a:gd name="T27" fmla="*/ 239 h 504"/>
                    <a:gd name="T28" fmla="*/ 312 w 348"/>
                    <a:gd name="T29" fmla="*/ 229 h 504"/>
                    <a:gd name="T30" fmla="*/ 348 w 348"/>
                    <a:gd name="T31" fmla="*/ 177 h 504"/>
                    <a:gd name="T32" fmla="*/ 327 w 348"/>
                    <a:gd name="T33" fmla="*/ 149 h 504"/>
                    <a:gd name="T34" fmla="*/ 326 w 348"/>
                    <a:gd name="T35" fmla="*/ 128 h 504"/>
                    <a:gd name="T36" fmla="*/ 312 w 348"/>
                    <a:gd name="T37" fmla="*/ 107 h 504"/>
                    <a:gd name="T38" fmla="*/ 310 w 348"/>
                    <a:gd name="T39" fmla="*/ 85 h 504"/>
                    <a:gd name="T40" fmla="*/ 291 w 348"/>
                    <a:gd name="T41" fmla="*/ 89 h 504"/>
                    <a:gd name="T42" fmla="*/ 282 w 348"/>
                    <a:gd name="T43" fmla="*/ 71 h 504"/>
                    <a:gd name="T44" fmla="*/ 252 w 348"/>
                    <a:gd name="T45" fmla="*/ 95 h 504"/>
                    <a:gd name="T46" fmla="*/ 254 w 348"/>
                    <a:gd name="T47" fmla="*/ 61 h 504"/>
                    <a:gd name="T48" fmla="*/ 224 w 348"/>
                    <a:gd name="T49" fmla="*/ 64 h 504"/>
                    <a:gd name="T50" fmla="*/ 224 w 348"/>
                    <a:gd name="T51" fmla="*/ 44 h 504"/>
                    <a:gd name="T52" fmla="*/ 203 w 348"/>
                    <a:gd name="T53" fmla="*/ 27 h 504"/>
                    <a:gd name="T54" fmla="*/ 184 w 348"/>
                    <a:gd name="T55" fmla="*/ 15 h 504"/>
                    <a:gd name="T56" fmla="*/ 178 w 348"/>
                    <a:gd name="T57" fmla="*/ 0 h 504"/>
                    <a:gd name="T58" fmla="*/ 148 w 348"/>
                    <a:gd name="T59" fmla="*/ 12 h 504"/>
                    <a:gd name="T60" fmla="*/ 146 w 348"/>
                    <a:gd name="T61" fmla="*/ 44 h 504"/>
                    <a:gd name="T62" fmla="*/ 168 w 348"/>
                    <a:gd name="T63" fmla="*/ 60 h 504"/>
                    <a:gd name="T64" fmla="*/ 168 w 348"/>
                    <a:gd name="T65" fmla="*/ 80 h 504"/>
                    <a:gd name="T66" fmla="*/ 147 w 348"/>
                    <a:gd name="T67" fmla="*/ 95 h 504"/>
                    <a:gd name="T68" fmla="*/ 120 w 348"/>
                    <a:gd name="T69" fmla="*/ 93 h 504"/>
                    <a:gd name="T70" fmla="*/ 127 w 348"/>
                    <a:gd name="T71" fmla="*/ 112 h 504"/>
                    <a:gd name="T72" fmla="*/ 147 w 348"/>
                    <a:gd name="T73" fmla="*/ 129 h 504"/>
                    <a:gd name="T74" fmla="*/ 159 w 348"/>
                    <a:gd name="T75" fmla="*/ 153 h 504"/>
                    <a:gd name="T76" fmla="*/ 184 w 348"/>
                    <a:gd name="T77" fmla="*/ 161 h 504"/>
                    <a:gd name="T78" fmla="*/ 186 w 348"/>
                    <a:gd name="T79" fmla="*/ 188 h 504"/>
                    <a:gd name="T80" fmla="*/ 176 w 348"/>
                    <a:gd name="T81" fmla="*/ 191 h 504"/>
                    <a:gd name="T82" fmla="*/ 152 w 348"/>
                    <a:gd name="T83" fmla="*/ 233 h 504"/>
                    <a:gd name="T84" fmla="*/ 131 w 348"/>
                    <a:gd name="T85" fmla="*/ 257 h 504"/>
                    <a:gd name="T86" fmla="*/ 131 w 348"/>
                    <a:gd name="T87" fmla="*/ 273 h 504"/>
                    <a:gd name="T88" fmla="*/ 155 w 348"/>
                    <a:gd name="T89" fmla="*/ 277 h 504"/>
                    <a:gd name="T90" fmla="*/ 152 w 348"/>
                    <a:gd name="T91" fmla="*/ 297 h 504"/>
                    <a:gd name="T92" fmla="*/ 119 w 348"/>
                    <a:gd name="T93" fmla="*/ 335 h 504"/>
                    <a:gd name="T94" fmla="*/ 107 w 348"/>
                    <a:gd name="T95" fmla="*/ 335 h 504"/>
                    <a:gd name="T96" fmla="*/ 87 w 348"/>
                    <a:gd name="T97" fmla="*/ 364 h 504"/>
                    <a:gd name="T98" fmla="*/ 71 w 348"/>
                    <a:gd name="T99" fmla="*/ 391 h 504"/>
                    <a:gd name="T100" fmla="*/ 47 w 348"/>
                    <a:gd name="T101" fmla="*/ 391 h 504"/>
                    <a:gd name="T102" fmla="*/ 42 w 348"/>
                    <a:gd name="T103" fmla="*/ 399 h 504"/>
                    <a:gd name="T104" fmla="*/ 10 w 348"/>
                    <a:gd name="T105" fmla="*/ 399 h 504"/>
                    <a:gd name="T106" fmla="*/ 8 w 348"/>
                    <a:gd name="T107" fmla="*/ 445 h 504"/>
                    <a:gd name="T108" fmla="*/ 20 w 348"/>
                    <a:gd name="T109" fmla="*/ 448 h 504"/>
                    <a:gd name="T110" fmla="*/ 28 w 348"/>
                    <a:gd name="T111" fmla="*/ 460 h 504"/>
                    <a:gd name="T112" fmla="*/ 3 w 348"/>
                    <a:gd name="T113" fmla="*/ 473 h 504"/>
                    <a:gd name="T114" fmla="*/ 0 w 348"/>
                    <a:gd name="T115" fmla="*/ 481 h 5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348" h="504">
                      <a:moveTo>
                        <a:pt x="0" y="481"/>
                      </a:moveTo>
                      <a:lnTo>
                        <a:pt x="15" y="484"/>
                      </a:lnTo>
                      <a:lnTo>
                        <a:pt x="23" y="504"/>
                      </a:lnTo>
                      <a:lnTo>
                        <a:pt x="127" y="484"/>
                      </a:lnTo>
                      <a:lnTo>
                        <a:pt x="166" y="451"/>
                      </a:lnTo>
                      <a:lnTo>
                        <a:pt x="207" y="399"/>
                      </a:lnTo>
                      <a:lnTo>
                        <a:pt x="242" y="407"/>
                      </a:lnTo>
                      <a:lnTo>
                        <a:pt x="274" y="404"/>
                      </a:lnTo>
                      <a:lnTo>
                        <a:pt x="319" y="399"/>
                      </a:lnTo>
                      <a:lnTo>
                        <a:pt x="346" y="357"/>
                      </a:lnTo>
                      <a:lnTo>
                        <a:pt x="336" y="271"/>
                      </a:lnTo>
                      <a:lnTo>
                        <a:pt x="348" y="253"/>
                      </a:lnTo>
                      <a:lnTo>
                        <a:pt x="336" y="229"/>
                      </a:lnTo>
                      <a:lnTo>
                        <a:pt x="322" y="239"/>
                      </a:lnTo>
                      <a:lnTo>
                        <a:pt x="312" y="229"/>
                      </a:lnTo>
                      <a:lnTo>
                        <a:pt x="348" y="177"/>
                      </a:lnTo>
                      <a:lnTo>
                        <a:pt x="327" y="149"/>
                      </a:lnTo>
                      <a:lnTo>
                        <a:pt x="326" y="128"/>
                      </a:lnTo>
                      <a:lnTo>
                        <a:pt x="312" y="107"/>
                      </a:lnTo>
                      <a:lnTo>
                        <a:pt x="310" y="85"/>
                      </a:lnTo>
                      <a:lnTo>
                        <a:pt x="291" y="89"/>
                      </a:lnTo>
                      <a:lnTo>
                        <a:pt x="282" y="71"/>
                      </a:lnTo>
                      <a:lnTo>
                        <a:pt x="252" y="95"/>
                      </a:lnTo>
                      <a:lnTo>
                        <a:pt x="254" y="61"/>
                      </a:lnTo>
                      <a:lnTo>
                        <a:pt x="224" y="64"/>
                      </a:lnTo>
                      <a:lnTo>
                        <a:pt x="224" y="44"/>
                      </a:lnTo>
                      <a:lnTo>
                        <a:pt x="203" y="27"/>
                      </a:lnTo>
                      <a:lnTo>
                        <a:pt x="184" y="15"/>
                      </a:lnTo>
                      <a:lnTo>
                        <a:pt x="178" y="0"/>
                      </a:lnTo>
                      <a:lnTo>
                        <a:pt x="148" y="12"/>
                      </a:lnTo>
                      <a:lnTo>
                        <a:pt x="146" y="44"/>
                      </a:lnTo>
                      <a:lnTo>
                        <a:pt x="168" y="60"/>
                      </a:lnTo>
                      <a:lnTo>
                        <a:pt x="168" y="80"/>
                      </a:lnTo>
                      <a:lnTo>
                        <a:pt x="147" y="95"/>
                      </a:lnTo>
                      <a:lnTo>
                        <a:pt x="120" y="93"/>
                      </a:lnTo>
                      <a:lnTo>
                        <a:pt x="127" y="112"/>
                      </a:lnTo>
                      <a:lnTo>
                        <a:pt x="147" y="129"/>
                      </a:lnTo>
                      <a:lnTo>
                        <a:pt x="159" y="153"/>
                      </a:lnTo>
                      <a:lnTo>
                        <a:pt x="184" y="161"/>
                      </a:lnTo>
                      <a:lnTo>
                        <a:pt x="186" y="188"/>
                      </a:lnTo>
                      <a:lnTo>
                        <a:pt x="176" y="191"/>
                      </a:lnTo>
                      <a:lnTo>
                        <a:pt x="152" y="233"/>
                      </a:lnTo>
                      <a:lnTo>
                        <a:pt x="131" y="257"/>
                      </a:lnTo>
                      <a:lnTo>
                        <a:pt x="131" y="273"/>
                      </a:lnTo>
                      <a:lnTo>
                        <a:pt x="155" y="277"/>
                      </a:lnTo>
                      <a:lnTo>
                        <a:pt x="152" y="297"/>
                      </a:lnTo>
                      <a:lnTo>
                        <a:pt x="119" y="335"/>
                      </a:lnTo>
                      <a:lnTo>
                        <a:pt x="107" y="335"/>
                      </a:lnTo>
                      <a:lnTo>
                        <a:pt x="87" y="364"/>
                      </a:lnTo>
                      <a:lnTo>
                        <a:pt x="71" y="391"/>
                      </a:lnTo>
                      <a:lnTo>
                        <a:pt x="47" y="391"/>
                      </a:lnTo>
                      <a:lnTo>
                        <a:pt x="42" y="399"/>
                      </a:lnTo>
                      <a:lnTo>
                        <a:pt x="10" y="399"/>
                      </a:lnTo>
                      <a:lnTo>
                        <a:pt x="8" y="445"/>
                      </a:lnTo>
                      <a:lnTo>
                        <a:pt x="20" y="448"/>
                      </a:lnTo>
                      <a:lnTo>
                        <a:pt x="28" y="460"/>
                      </a:lnTo>
                      <a:lnTo>
                        <a:pt x="3" y="473"/>
                      </a:lnTo>
                      <a:lnTo>
                        <a:pt x="0" y="481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" name="Freeform 11"/>
                <p:cNvSpPr>
                  <a:spLocks/>
                </p:cNvSpPr>
                <p:nvPr/>
              </p:nvSpPr>
              <p:spPr bwMode="gray">
                <a:xfrm>
                  <a:off x="5327650" y="4567238"/>
                  <a:ext cx="746125" cy="676275"/>
                </a:xfrm>
                <a:custGeom>
                  <a:avLst/>
                  <a:gdLst>
                    <a:gd name="T0" fmla="*/ 404 w 470"/>
                    <a:gd name="T1" fmla="*/ 20 h 426"/>
                    <a:gd name="T2" fmla="*/ 411 w 470"/>
                    <a:gd name="T3" fmla="*/ 39 h 426"/>
                    <a:gd name="T4" fmla="*/ 431 w 470"/>
                    <a:gd name="T5" fmla="*/ 56 h 426"/>
                    <a:gd name="T6" fmla="*/ 443 w 470"/>
                    <a:gd name="T7" fmla="*/ 80 h 426"/>
                    <a:gd name="T8" fmla="*/ 468 w 470"/>
                    <a:gd name="T9" fmla="*/ 88 h 426"/>
                    <a:gd name="T10" fmla="*/ 470 w 470"/>
                    <a:gd name="T11" fmla="*/ 115 h 426"/>
                    <a:gd name="T12" fmla="*/ 460 w 470"/>
                    <a:gd name="T13" fmla="*/ 118 h 426"/>
                    <a:gd name="T14" fmla="*/ 436 w 470"/>
                    <a:gd name="T15" fmla="*/ 160 h 426"/>
                    <a:gd name="T16" fmla="*/ 415 w 470"/>
                    <a:gd name="T17" fmla="*/ 184 h 426"/>
                    <a:gd name="T18" fmla="*/ 415 w 470"/>
                    <a:gd name="T19" fmla="*/ 200 h 426"/>
                    <a:gd name="T20" fmla="*/ 439 w 470"/>
                    <a:gd name="T21" fmla="*/ 204 h 426"/>
                    <a:gd name="T22" fmla="*/ 436 w 470"/>
                    <a:gd name="T23" fmla="*/ 224 h 426"/>
                    <a:gd name="T24" fmla="*/ 403 w 470"/>
                    <a:gd name="T25" fmla="*/ 262 h 426"/>
                    <a:gd name="T26" fmla="*/ 391 w 470"/>
                    <a:gd name="T27" fmla="*/ 262 h 426"/>
                    <a:gd name="T28" fmla="*/ 371 w 470"/>
                    <a:gd name="T29" fmla="*/ 291 h 426"/>
                    <a:gd name="T30" fmla="*/ 355 w 470"/>
                    <a:gd name="T31" fmla="*/ 318 h 426"/>
                    <a:gd name="T32" fmla="*/ 331 w 470"/>
                    <a:gd name="T33" fmla="*/ 318 h 426"/>
                    <a:gd name="T34" fmla="*/ 326 w 470"/>
                    <a:gd name="T35" fmla="*/ 326 h 426"/>
                    <a:gd name="T36" fmla="*/ 294 w 470"/>
                    <a:gd name="T37" fmla="*/ 326 h 426"/>
                    <a:gd name="T38" fmla="*/ 292 w 470"/>
                    <a:gd name="T39" fmla="*/ 372 h 426"/>
                    <a:gd name="T40" fmla="*/ 304 w 470"/>
                    <a:gd name="T41" fmla="*/ 375 h 426"/>
                    <a:gd name="T42" fmla="*/ 312 w 470"/>
                    <a:gd name="T43" fmla="*/ 387 h 426"/>
                    <a:gd name="T44" fmla="*/ 287 w 470"/>
                    <a:gd name="T45" fmla="*/ 400 h 426"/>
                    <a:gd name="T46" fmla="*/ 284 w 470"/>
                    <a:gd name="T47" fmla="*/ 408 h 426"/>
                    <a:gd name="T48" fmla="*/ 210 w 470"/>
                    <a:gd name="T49" fmla="*/ 402 h 426"/>
                    <a:gd name="T50" fmla="*/ 156 w 470"/>
                    <a:gd name="T51" fmla="*/ 426 h 426"/>
                    <a:gd name="T52" fmla="*/ 124 w 470"/>
                    <a:gd name="T53" fmla="*/ 419 h 426"/>
                    <a:gd name="T54" fmla="*/ 100 w 470"/>
                    <a:gd name="T55" fmla="*/ 372 h 426"/>
                    <a:gd name="T56" fmla="*/ 54 w 470"/>
                    <a:gd name="T57" fmla="*/ 375 h 426"/>
                    <a:gd name="T58" fmla="*/ 0 w 470"/>
                    <a:gd name="T59" fmla="*/ 347 h 426"/>
                    <a:gd name="T60" fmla="*/ 0 w 470"/>
                    <a:gd name="T61" fmla="*/ 314 h 426"/>
                    <a:gd name="T62" fmla="*/ 0 w 470"/>
                    <a:gd name="T63" fmla="*/ 315 h 426"/>
                    <a:gd name="T64" fmla="*/ 11 w 470"/>
                    <a:gd name="T65" fmla="*/ 315 h 426"/>
                    <a:gd name="T66" fmla="*/ 38 w 470"/>
                    <a:gd name="T67" fmla="*/ 294 h 426"/>
                    <a:gd name="T68" fmla="*/ 64 w 470"/>
                    <a:gd name="T69" fmla="*/ 323 h 426"/>
                    <a:gd name="T70" fmla="*/ 96 w 470"/>
                    <a:gd name="T71" fmla="*/ 331 h 426"/>
                    <a:gd name="T72" fmla="*/ 111 w 470"/>
                    <a:gd name="T73" fmla="*/ 334 h 426"/>
                    <a:gd name="T74" fmla="*/ 127 w 470"/>
                    <a:gd name="T75" fmla="*/ 367 h 426"/>
                    <a:gd name="T76" fmla="*/ 163 w 470"/>
                    <a:gd name="T77" fmla="*/ 387 h 426"/>
                    <a:gd name="T78" fmla="*/ 180 w 470"/>
                    <a:gd name="T79" fmla="*/ 379 h 426"/>
                    <a:gd name="T80" fmla="*/ 184 w 470"/>
                    <a:gd name="T81" fmla="*/ 363 h 426"/>
                    <a:gd name="T82" fmla="*/ 190 w 470"/>
                    <a:gd name="T83" fmla="*/ 331 h 426"/>
                    <a:gd name="T84" fmla="*/ 222 w 470"/>
                    <a:gd name="T85" fmla="*/ 299 h 426"/>
                    <a:gd name="T86" fmla="*/ 252 w 470"/>
                    <a:gd name="T87" fmla="*/ 263 h 426"/>
                    <a:gd name="T88" fmla="*/ 268 w 470"/>
                    <a:gd name="T89" fmla="*/ 224 h 426"/>
                    <a:gd name="T90" fmla="*/ 264 w 470"/>
                    <a:gd name="T91" fmla="*/ 183 h 426"/>
                    <a:gd name="T92" fmla="*/ 246 w 470"/>
                    <a:gd name="T93" fmla="*/ 182 h 426"/>
                    <a:gd name="T94" fmla="*/ 242 w 470"/>
                    <a:gd name="T95" fmla="*/ 136 h 426"/>
                    <a:gd name="T96" fmla="*/ 263 w 470"/>
                    <a:gd name="T97" fmla="*/ 119 h 426"/>
                    <a:gd name="T98" fmla="*/ 254 w 470"/>
                    <a:gd name="T99" fmla="*/ 112 h 426"/>
                    <a:gd name="T100" fmla="*/ 234 w 470"/>
                    <a:gd name="T101" fmla="*/ 112 h 426"/>
                    <a:gd name="T102" fmla="*/ 232 w 470"/>
                    <a:gd name="T103" fmla="*/ 99 h 426"/>
                    <a:gd name="T104" fmla="*/ 271 w 470"/>
                    <a:gd name="T105" fmla="*/ 62 h 426"/>
                    <a:gd name="T106" fmla="*/ 290 w 470"/>
                    <a:gd name="T107" fmla="*/ 59 h 426"/>
                    <a:gd name="T108" fmla="*/ 295 w 470"/>
                    <a:gd name="T109" fmla="*/ 50 h 426"/>
                    <a:gd name="T110" fmla="*/ 324 w 470"/>
                    <a:gd name="T111" fmla="*/ 43 h 426"/>
                    <a:gd name="T112" fmla="*/ 338 w 470"/>
                    <a:gd name="T113" fmla="*/ 51 h 426"/>
                    <a:gd name="T114" fmla="*/ 386 w 470"/>
                    <a:gd name="T115" fmla="*/ 39 h 426"/>
                    <a:gd name="T116" fmla="*/ 390 w 470"/>
                    <a:gd name="T117" fmla="*/ 10 h 426"/>
                    <a:gd name="T118" fmla="*/ 415 w 470"/>
                    <a:gd name="T119" fmla="*/ 0 h 426"/>
                    <a:gd name="T120" fmla="*/ 416 w 470"/>
                    <a:gd name="T121" fmla="*/ 7 h 426"/>
                    <a:gd name="T122" fmla="*/ 404 w 470"/>
                    <a:gd name="T123" fmla="*/ 20 h 4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470" h="426">
                      <a:moveTo>
                        <a:pt x="404" y="20"/>
                      </a:moveTo>
                      <a:lnTo>
                        <a:pt x="411" y="39"/>
                      </a:lnTo>
                      <a:lnTo>
                        <a:pt x="431" y="56"/>
                      </a:lnTo>
                      <a:lnTo>
                        <a:pt x="443" y="80"/>
                      </a:lnTo>
                      <a:lnTo>
                        <a:pt x="468" y="88"/>
                      </a:lnTo>
                      <a:lnTo>
                        <a:pt x="470" y="115"/>
                      </a:lnTo>
                      <a:lnTo>
                        <a:pt x="460" y="118"/>
                      </a:lnTo>
                      <a:lnTo>
                        <a:pt x="436" y="160"/>
                      </a:lnTo>
                      <a:lnTo>
                        <a:pt x="415" y="184"/>
                      </a:lnTo>
                      <a:lnTo>
                        <a:pt x="415" y="200"/>
                      </a:lnTo>
                      <a:lnTo>
                        <a:pt x="439" y="204"/>
                      </a:lnTo>
                      <a:lnTo>
                        <a:pt x="436" y="224"/>
                      </a:lnTo>
                      <a:lnTo>
                        <a:pt x="403" y="262"/>
                      </a:lnTo>
                      <a:lnTo>
                        <a:pt x="391" y="262"/>
                      </a:lnTo>
                      <a:lnTo>
                        <a:pt x="371" y="291"/>
                      </a:lnTo>
                      <a:lnTo>
                        <a:pt x="355" y="318"/>
                      </a:lnTo>
                      <a:lnTo>
                        <a:pt x="331" y="318"/>
                      </a:lnTo>
                      <a:lnTo>
                        <a:pt x="326" y="326"/>
                      </a:lnTo>
                      <a:lnTo>
                        <a:pt x="294" y="326"/>
                      </a:lnTo>
                      <a:lnTo>
                        <a:pt x="292" y="372"/>
                      </a:lnTo>
                      <a:lnTo>
                        <a:pt x="304" y="375"/>
                      </a:lnTo>
                      <a:lnTo>
                        <a:pt x="312" y="387"/>
                      </a:lnTo>
                      <a:lnTo>
                        <a:pt x="287" y="400"/>
                      </a:lnTo>
                      <a:lnTo>
                        <a:pt x="284" y="408"/>
                      </a:lnTo>
                      <a:lnTo>
                        <a:pt x="210" y="402"/>
                      </a:lnTo>
                      <a:lnTo>
                        <a:pt x="156" y="426"/>
                      </a:lnTo>
                      <a:lnTo>
                        <a:pt x="124" y="419"/>
                      </a:lnTo>
                      <a:lnTo>
                        <a:pt x="100" y="372"/>
                      </a:lnTo>
                      <a:lnTo>
                        <a:pt x="54" y="375"/>
                      </a:lnTo>
                      <a:lnTo>
                        <a:pt x="0" y="347"/>
                      </a:lnTo>
                      <a:lnTo>
                        <a:pt x="0" y="314"/>
                      </a:lnTo>
                      <a:lnTo>
                        <a:pt x="0" y="315"/>
                      </a:lnTo>
                      <a:lnTo>
                        <a:pt x="11" y="315"/>
                      </a:lnTo>
                      <a:lnTo>
                        <a:pt x="38" y="294"/>
                      </a:lnTo>
                      <a:lnTo>
                        <a:pt x="64" y="323"/>
                      </a:lnTo>
                      <a:lnTo>
                        <a:pt x="96" y="331"/>
                      </a:lnTo>
                      <a:lnTo>
                        <a:pt x="111" y="334"/>
                      </a:lnTo>
                      <a:lnTo>
                        <a:pt x="127" y="367"/>
                      </a:lnTo>
                      <a:lnTo>
                        <a:pt x="163" y="387"/>
                      </a:lnTo>
                      <a:lnTo>
                        <a:pt x="180" y="379"/>
                      </a:lnTo>
                      <a:lnTo>
                        <a:pt x="184" y="363"/>
                      </a:lnTo>
                      <a:lnTo>
                        <a:pt x="190" y="331"/>
                      </a:lnTo>
                      <a:lnTo>
                        <a:pt x="222" y="299"/>
                      </a:lnTo>
                      <a:lnTo>
                        <a:pt x="252" y="263"/>
                      </a:lnTo>
                      <a:lnTo>
                        <a:pt x="268" y="224"/>
                      </a:lnTo>
                      <a:lnTo>
                        <a:pt x="264" y="183"/>
                      </a:lnTo>
                      <a:lnTo>
                        <a:pt x="246" y="182"/>
                      </a:lnTo>
                      <a:lnTo>
                        <a:pt x="242" y="136"/>
                      </a:lnTo>
                      <a:lnTo>
                        <a:pt x="263" y="119"/>
                      </a:lnTo>
                      <a:lnTo>
                        <a:pt x="254" y="112"/>
                      </a:lnTo>
                      <a:lnTo>
                        <a:pt x="234" y="112"/>
                      </a:lnTo>
                      <a:lnTo>
                        <a:pt x="232" y="99"/>
                      </a:lnTo>
                      <a:lnTo>
                        <a:pt x="271" y="62"/>
                      </a:lnTo>
                      <a:lnTo>
                        <a:pt x="290" y="59"/>
                      </a:lnTo>
                      <a:lnTo>
                        <a:pt x="295" y="50"/>
                      </a:lnTo>
                      <a:lnTo>
                        <a:pt x="324" y="43"/>
                      </a:lnTo>
                      <a:lnTo>
                        <a:pt x="338" y="51"/>
                      </a:lnTo>
                      <a:lnTo>
                        <a:pt x="386" y="39"/>
                      </a:lnTo>
                      <a:lnTo>
                        <a:pt x="390" y="10"/>
                      </a:lnTo>
                      <a:lnTo>
                        <a:pt x="415" y="0"/>
                      </a:lnTo>
                      <a:lnTo>
                        <a:pt x="416" y="7"/>
                      </a:lnTo>
                      <a:lnTo>
                        <a:pt x="404" y="20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3" name="Freeform 12"/>
                <p:cNvSpPr>
                  <a:spLocks/>
                </p:cNvSpPr>
                <p:nvPr/>
              </p:nvSpPr>
              <p:spPr bwMode="gray">
                <a:xfrm>
                  <a:off x="5167313" y="4160838"/>
                  <a:ext cx="893762" cy="1020763"/>
                </a:xfrm>
                <a:custGeom>
                  <a:avLst/>
                  <a:gdLst>
                    <a:gd name="T0" fmla="*/ 245 w 563"/>
                    <a:gd name="T1" fmla="*/ 15 h 643"/>
                    <a:gd name="T2" fmla="*/ 275 w 563"/>
                    <a:gd name="T3" fmla="*/ 68 h 643"/>
                    <a:gd name="T4" fmla="*/ 287 w 563"/>
                    <a:gd name="T5" fmla="*/ 92 h 643"/>
                    <a:gd name="T6" fmla="*/ 323 w 563"/>
                    <a:gd name="T7" fmla="*/ 128 h 643"/>
                    <a:gd name="T8" fmla="*/ 321 w 563"/>
                    <a:gd name="T9" fmla="*/ 220 h 643"/>
                    <a:gd name="T10" fmla="*/ 345 w 563"/>
                    <a:gd name="T11" fmla="*/ 210 h 643"/>
                    <a:gd name="T12" fmla="*/ 387 w 563"/>
                    <a:gd name="T13" fmla="*/ 186 h 643"/>
                    <a:gd name="T14" fmla="*/ 421 w 563"/>
                    <a:gd name="T15" fmla="*/ 175 h 643"/>
                    <a:gd name="T16" fmla="*/ 457 w 563"/>
                    <a:gd name="T17" fmla="*/ 107 h 643"/>
                    <a:gd name="T18" fmla="*/ 503 w 563"/>
                    <a:gd name="T19" fmla="*/ 147 h 643"/>
                    <a:gd name="T20" fmla="*/ 536 w 563"/>
                    <a:gd name="T21" fmla="*/ 132 h 643"/>
                    <a:gd name="T22" fmla="*/ 563 w 563"/>
                    <a:gd name="T23" fmla="*/ 183 h 643"/>
                    <a:gd name="T24" fmla="*/ 531 w 563"/>
                    <a:gd name="T25" fmla="*/ 227 h 643"/>
                    <a:gd name="T26" fmla="*/ 553 w 563"/>
                    <a:gd name="T27" fmla="*/ 263 h 643"/>
                    <a:gd name="T28" fmla="*/ 505 w 563"/>
                    <a:gd name="T29" fmla="*/ 276 h 643"/>
                    <a:gd name="T30" fmla="*/ 516 w 563"/>
                    <a:gd name="T31" fmla="*/ 256 h 643"/>
                    <a:gd name="T32" fmla="*/ 487 w 563"/>
                    <a:gd name="T33" fmla="*/ 295 h 643"/>
                    <a:gd name="T34" fmla="*/ 425 w 563"/>
                    <a:gd name="T35" fmla="*/ 299 h 643"/>
                    <a:gd name="T36" fmla="*/ 391 w 563"/>
                    <a:gd name="T37" fmla="*/ 315 h 643"/>
                    <a:gd name="T38" fmla="*/ 333 w 563"/>
                    <a:gd name="T39" fmla="*/ 355 h 643"/>
                    <a:gd name="T40" fmla="*/ 355 w 563"/>
                    <a:gd name="T41" fmla="*/ 368 h 643"/>
                    <a:gd name="T42" fmla="*/ 343 w 563"/>
                    <a:gd name="T43" fmla="*/ 392 h 643"/>
                    <a:gd name="T44" fmla="*/ 365 w 563"/>
                    <a:gd name="T45" fmla="*/ 439 h 643"/>
                    <a:gd name="T46" fmla="*/ 353 w 563"/>
                    <a:gd name="T47" fmla="*/ 519 h 643"/>
                    <a:gd name="T48" fmla="*/ 291 w 563"/>
                    <a:gd name="T49" fmla="*/ 587 h 643"/>
                    <a:gd name="T50" fmla="*/ 281 w 563"/>
                    <a:gd name="T51" fmla="*/ 635 h 643"/>
                    <a:gd name="T52" fmla="*/ 228 w 563"/>
                    <a:gd name="T53" fmla="*/ 623 h 643"/>
                    <a:gd name="T54" fmla="*/ 197 w 563"/>
                    <a:gd name="T55" fmla="*/ 587 h 643"/>
                    <a:gd name="T56" fmla="*/ 139 w 563"/>
                    <a:gd name="T57" fmla="*/ 550 h 643"/>
                    <a:gd name="T58" fmla="*/ 101 w 563"/>
                    <a:gd name="T59" fmla="*/ 571 h 643"/>
                    <a:gd name="T60" fmla="*/ 92 w 563"/>
                    <a:gd name="T61" fmla="*/ 562 h 643"/>
                    <a:gd name="T62" fmla="*/ 46 w 563"/>
                    <a:gd name="T63" fmla="*/ 540 h 643"/>
                    <a:gd name="T64" fmla="*/ 29 w 563"/>
                    <a:gd name="T65" fmla="*/ 540 h 643"/>
                    <a:gd name="T66" fmla="*/ 0 w 563"/>
                    <a:gd name="T67" fmla="*/ 507 h 643"/>
                    <a:gd name="T68" fmla="*/ 30 w 563"/>
                    <a:gd name="T69" fmla="*/ 440 h 643"/>
                    <a:gd name="T70" fmla="*/ 48 w 563"/>
                    <a:gd name="T71" fmla="*/ 396 h 643"/>
                    <a:gd name="T72" fmla="*/ 46 w 563"/>
                    <a:gd name="T73" fmla="*/ 358 h 643"/>
                    <a:gd name="T74" fmla="*/ 83 w 563"/>
                    <a:gd name="T75" fmla="*/ 336 h 643"/>
                    <a:gd name="T76" fmla="*/ 97 w 563"/>
                    <a:gd name="T77" fmla="*/ 322 h 643"/>
                    <a:gd name="T78" fmla="*/ 121 w 563"/>
                    <a:gd name="T79" fmla="*/ 347 h 643"/>
                    <a:gd name="T80" fmla="*/ 157 w 563"/>
                    <a:gd name="T81" fmla="*/ 287 h 643"/>
                    <a:gd name="T82" fmla="*/ 165 w 563"/>
                    <a:gd name="T83" fmla="*/ 248 h 643"/>
                    <a:gd name="T84" fmla="*/ 215 w 563"/>
                    <a:gd name="T85" fmla="*/ 280 h 643"/>
                    <a:gd name="T86" fmla="*/ 209 w 563"/>
                    <a:gd name="T87" fmla="*/ 227 h 643"/>
                    <a:gd name="T88" fmla="*/ 216 w 563"/>
                    <a:gd name="T89" fmla="*/ 196 h 643"/>
                    <a:gd name="T90" fmla="*/ 184 w 563"/>
                    <a:gd name="T91" fmla="*/ 152 h 643"/>
                    <a:gd name="T92" fmla="*/ 217 w 563"/>
                    <a:gd name="T93" fmla="*/ 86 h 643"/>
                    <a:gd name="T94" fmla="*/ 207 w 563"/>
                    <a:gd name="T95" fmla="*/ 43 h 643"/>
                    <a:gd name="T96" fmla="*/ 233 w 563"/>
                    <a:gd name="T97" fmla="*/ 8 h 6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563" h="643">
                      <a:moveTo>
                        <a:pt x="239" y="0"/>
                      </a:moveTo>
                      <a:lnTo>
                        <a:pt x="245" y="15"/>
                      </a:lnTo>
                      <a:lnTo>
                        <a:pt x="272" y="40"/>
                      </a:lnTo>
                      <a:lnTo>
                        <a:pt x="275" y="68"/>
                      </a:lnTo>
                      <a:lnTo>
                        <a:pt x="295" y="75"/>
                      </a:lnTo>
                      <a:lnTo>
                        <a:pt x="287" y="92"/>
                      </a:lnTo>
                      <a:lnTo>
                        <a:pt x="296" y="111"/>
                      </a:lnTo>
                      <a:lnTo>
                        <a:pt x="323" y="128"/>
                      </a:lnTo>
                      <a:lnTo>
                        <a:pt x="316" y="192"/>
                      </a:lnTo>
                      <a:lnTo>
                        <a:pt x="321" y="220"/>
                      </a:lnTo>
                      <a:lnTo>
                        <a:pt x="340" y="220"/>
                      </a:lnTo>
                      <a:lnTo>
                        <a:pt x="345" y="210"/>
                      </a:lnTo>
                      <a:lnTo>
                        <a:pt x="381" y="198"/>
                      </a:lnTo>
                      <a:lnTo>
                        <a:pt x="387" y="186"/>
                      </a:lnTo>
                      <a:lnTo>
                        <a:pt x="396" y="206"/>
                      </a:lnTo>
                      <a:lnTo>
                        <a:pt x="421" y="175"/>
                      </a:lnTo>
                      <a:lnTo>
                        <a:pt x="429" y="136"/>
                      </a:lnTo>
                      <a:lnTo>
                        <a:pt x="457" y="107"/>
                      </a:lnTo>
                      <a:lnTo>
                        <a:pt x="487" y="124"/>
                      </a:lnTo>
                      <a:lnTo>
                        <a:pt x="503" y="147"/>
                      </a:lnTo>
                      <a:lnTo>
                        <a:pt x="520" y="126"/>
                      </a:lnTo>
                      <a:lnTo>
                        <a:pt x="536" y="132"/>
                      </a:lnTo>
                      <a:lnTo>
                        <a:pt x="541" y="151"/>
                      </a:lnTo>
                      <a:lnTo>
                        <a:pt x="563" y="183"/>
                      </a:lnTo>
                      <a:lnTo>
                        <a:pt x="533" y="195"/>
                      </a:lnTo>
                      <a:lnTo>
                        <a:pt x="531" y="227"/>
                      </a:lnTo>
                      <a:lnTo>
                        <a:pt x="553" y="243"/>
                      </a:lnTo>
                      <a:lnTo>
                        <a:pt x="553" y="263"/>
                      </a:lnTo>
                      <a:lnTo>
                        <a:pt x="532" y="278"/>
                      </a:lnTo>
                      <a:lnTo>
                        <a:pt x="505" y="276"/>
                      </a:lnTo>
                      <a:lnTo>
                        <a:pt x="517" y="263"/>
                      </a:lnTo>
                      <a:lnTo>
                        <a:pt x="516" y="256"/>
                      </a:lnTo>
                      <a:lnTo>
                        <a:pt x="491" y="266"/>
                      </a:lnTo>
                      <a:lnTo>
                        <a:pt x="487" y="295"/>
                      </a:lnTo>
                      <a:lnTo>
                        <a:pt x="439" y="307"/>
                      </a:lnTo>
                      <a:lnTo>
                        <a:pt x="425" y="299"/>
                      </a:lnTo>
                      <a:lnTo>
                        <a:pt x="396" y="306"/>
                      </a:lnTo>
                      <a:lnTo>
                        <a:pt x="391" y="315"/>
                      </a:lnTo>
                      <a:lnTo>
                        <a:pt x="372" y="318"/>
                      </a:lnTo>
                      <a:lnTo>
                        <a:pt x="333" y="355"/>
                      </a:lnTo>
                      <a:lnTo>
                        <a:pt x="335" y="368"/>
                      </a:lnTo>
                      <a:lnTo>
                        <a:pt x="355" y="368"/>
                      </a:lnTo>
                      <a:lnTo>
                        <a:pt x="364" y="375"/>
                      </a:lnTo>
                      <a:lnTo>
                        <a:pt x="343" y="392"/>
                      </a:lnTo>
                      <a:lnTo>
                        <a:pt x="347" y="438"/>
                      </a:lnTo>
                      <a:lnTo>
                        <a:pt x="365" y="439"/>
                      </a:lnTo>
                      <a:lnTo>
                        <a:pt x="369" y="480"/>
                      </a:lnTo>
                      <a:lnTo>
                        <a:pt x="353" y="519"/>
                      </a:lnTo>
                      <a:lnTo>
                        <a:pt x="323" y="555"/>
                      </a:lnTo>
                      <a:lnTo>
                        <a:pt x="291" y="587"/>
                      </a:lnTo>
                      <a:lnTo>
                        <a:pt x="285" y="619"/>
                      </a:lnTo>
                      <a:lnTo>
                        <a:pt x="281" y="635"/>
                      </a:lnTo>
                      <a:lnTo>
                        <a:pt x="264" y="643"/>
                      </a:lnTo>
                      <a:lnTo>
                        <a:pt x="228" y="623"/>
                      </a:lnTo>
                      <a:lnTo>
                        <a:pt x="212" y="590"/>
                      </a:lnTo>
                      <a:lnTo>
                        <a:pt x="197" y="587"/>
                      </a:lnTo>
                      <a:lnTo>
                        <a:pt x="165" y="579"/>
                      </a:lnTo>
                      <a:lnTo>
                        <a:pt x="139" y="550"/>
                      </a:lnTo>
                      <a:lnTo>
                        <a:pt x="112" y="571"/>
                      </a:lnTo>
                      <a:lnTo>
                        <a:pt x="101" y="571"/>
                      </a:lnTo>
                      <a:lnTo>
                        <a:pt x="101" y="570"/>
                      </a:lnTo>
                      <a:lnTo>
                        <a:pt x="92" y="562"/>
                      </a:lnTo>
                      <a:lnTo>
                        <a:pt x="64" y="560"/>
                      </a:lnTo>
                      <a:lnTo>
                        <a:pt x="46" y="540"/>
                      </a:lnTo>
                      <a:lnTo>
                        <a:pt x="30" y="540"/>
                      </a:lnTo>
                      <a:lnTo>
                        <a:pt x="29" y="540"/>
                      </a:lnTo>
                      <a:lnTo>
                        <a:pt x="2" y="520"/>
                      </a:lnTo>
                      <a:lnTo>
                        <a:pt x="0" y="507"/>
                      </a:lnTo>
                      <a:lnTo>
                        <a:pt x="29" y="502"/>
                      </a:lnTo>
                      <a:lnTo>
                        <a:pt x="30" y="440"/>
                      </a:lnTo>
                      <a:lnTo>
                        <a:pt x="50" y="426"/>
                      </a:lnTo>
                      <a:lnTo>
                        <a:pt x="48" y="396"/>
                      </a:lnTo>
                      <a:lnTo>
                        <a:pt x="29" y="374"/>
                      </a:lnTo>
                      <a:lnTo>
                        <a:pt x="46" y="358"/>
                      </a:lnTo>
                      <a:lnTo>
                        <a:pt x="45" y="342"/>
                      </a:lnTo>
                      <a:lnTo>
                        <a:pt x="83" y="336"/>
                      </a:lnTo>
                      <a:lnTo>
                        <a:pt x="87" y="322"/>
                      </a:lnTo>
                      <a:lnTo>
                        <a:pt x="97" y="322"/>
                      </a:lnTo>
                      <a:lnTo>
                        <a:pt x="113" y="346"/>
                      </a:lnTo>
                      <a:lnTo>
                        <a:pt x="121" y="347"/>
                      </a:lnTo>
                      <a:lnTo>
                        <a:pt x="127" y="319"/>
                      </a:lnTo>
                      <a:lnTo>
                        <a:pt x="157" y="287"/>
                      </a:lnTo>
                      <a:lnTo>
                        <a:pt x="155" y="248"/>
                      </a:lnTo>
                      <a:lnTo>
                        <a:pt x="165" y="248"/>
                      </a:lnTo>
                      <a:lnTo>
                        <a:pt x="183" y="266"/>
                      </a:lnTo>
                      <a:lnTo>
                        <a:pt x="215" y="280"/>
                      </a:lnTo>
                      <a:lnTo>
                        <a:pt x="223" y="248"/>
                      </a:lnTo>
                      <a:lnTo>
                        <a:pt x="209" y="227"/>
                      </a:lnTo>
                      <a:lnTo>
                        <a:pt x="221" y="218"/>
                      </a:lnTo>
                      <a:lnTo>
                        <a:pt x="216" y="196"/>
                      </a:lnTo>
                      <a:lnTo>
                        <a:pt x="192" y="179"/>
                      </a:lnTo>
                      <a:lnTo>
                        <a:pt x="184" y="152"/>
                      </a:lnTo>
                      <a:lnTo>
                        <a:pt x="212" y="108"/>
                      </a:lnTo>
                      <a:lnTo>
                        <a:pt x="217" y="86"/>
                      </a:lnTo>
                      <a:lnTo>
                        <a:pt x="200" y="58"/>
                      </a:lnTo>
                      <a:lnTo>
                        <a:pt x="207" y="43"/>
                      </a:lnTo>
                      <a:lnTo>
                        <a:pt x="213" y="8"/>
                      </a:lnTo>
                      <a:lnTo>
                        <a:pt x="233" y="8"/>
                      </a:lnTo>
                      <a:lnTo>
                        <a:pt x="239" y="0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4" name="Freeform 13"/>
                <p:cNvSpPr>
                  <a:spLocks/>
                </p:cNvSpPr>
                <p:nvPr/>
              </p:nvSpPr>
              <p:spPr bwMode="gray">
                <a:xfrm>
                  <a:off x="4862513" y="5018088"/>
                  <a:ext cx="469900" cy="298450"/>
                </a:xfrm>
                <a:custGeom>
                  <a:avLst/>
                  <a:gdLst>
                    <a:gd name="T0" fmla="*/ 3 w 222"/>
                    <a:gd name="T1" fmla="*/ 84 h 141"/>
                    <a:gd name="T2" fmla="*/ 0 w 222"/>
                    <a:gd name="T3" fmla="*/ 104 h 141"/>
                    <a:gd name="T4" fmla="*/ 20 w 222"/>
                    <a:gd name="T5" fmla="*/ 122 h 141"/>
                    <a:gd name="T6" fmla="*/ 11 w 222"/>
                    <a:gd name="T7" fmla="*/ 130 h 141"/>
                    <a:gd name="T8" fmla="*/ 11 w 222"/>
                    <a:gd name="T9" fmla="*/ 139 h 141"/>
                    <a:gd name="T10" fmla="*/ 14 w 222"/>
                    <a:gd name="T11" fmla="*/ 141 h 141"/>
                    <a:gd name="T12" fmla="*/ 80 w 222"/>
                    <a:gd name="T13" fmla="*/ 113 h 141"/>
                    <a:gd name="T14" fmla="*/ 98 w 222"/>
                    <a:gd name="T15" fmla="*/ 126 h 141"/>
                    <a:gd name="T16" fmla="*/ 122 w 222"/>
                    <a:gd name="T17" fmla="*/ 119 h 141"/>
                    <a:gd name="T18" fmla="*/ 135 w 222"/>
                    <a:gd name="T19" fmla="*/ 141 h 141"/>
                    <a:gd name="T20" fmla="*/ 193 w 222"/>
                    <a:gd name="T21" fmla="*/ 141 h 141"/>
                    <a:gd name="T22" fmla="*/ 222 w 222"/>
                    <a:gd name="T23" fmla="*/ 119 h 141"/>
                    <a:gd name="T24" fmla="*/ 206 w 222"/>
                    <a:gd name="T25" fmla="*/ 93 h 141"/>
                    <a:gd name="T26" fmla="*/ 220 w 222"/>
                    <a:gd name="T27" fmla="*/ 64 h 141"/>
                    <a:gd name="T28" fmla="*/ 220 w 222"/>
                    <a:gd name="T29" fmla="*/ 47 h 141"/>
                    <a:gd name="T30" fmla="*/ 220 w 222"/>
                    <a:gd name="T31" fmla="*/ 22 h 141"/>
                    <a:gd name="T32" fmla="*/ 213 w 222"/>
                    <a:gd name="T33" fmla="*/ 16 h 141"/>
                    <a:gd name="T34" fmla="*/ 192 w 222"/>
                    <a:gd name="T35" fmla="*/ 15 h 141"/>
                    <a:gd name="T36" fmla="*/ 179 w 222"/>
                    <a:gd name="T37" fmla="*/ 0 h 141"/>
                    <a:gd name="T38" fmla="*/ 167 w 222"/>
                    <a:gd name="T39" fmla="*/ 0 h 141"/>
                    <a:gd name="T40" fmla="*/ 163 w 222"/>
                    <a:gd name="T41" fmla="*/ 6 h 141"/>
                    <a:gd name="T42" fmla="*/ 141 w 222"/>
                    <a:gd name="T43" fmla="*/ 14 h 141"/>
                    <a:gd name="T44" fmla="*/ 119 w 222"/>
                    <a:gd name="T45" fmla="*/ 36 h 141"/>
                    <a:gd name="T46" fmla="*/ 107 w 222"/>
                    <a:gd name="T47" fmla="*/ 62 h 141"/>
                    <a:gd name="T48" fmla="*/ 95 w 222"/>
                    <a:gd name="T49" fmla="*/ 66 h 141"/>
                    <a:gd name="T50" fmla="*/ 86 w 222"/>
                    <a:gd name="T51" fmla="*/ 78 h 141"/>
                    <a:gd name="T52" fmla="*/ 46 w 222"/>
                    <a:gd name="T53" fmla="*/ 73 h 141"/>
                    <a:gd name="T54" fmla="*/ 37 w 222"/>
                    <a:gd name="T55" fmla="*/ 61 h 141"/>
                    <a:gd name="T56" fmla="*/ 36 w 222"/>
                    <a:gd name="T57" fmla="*/ 62 h 141"/>
                    <a:gd name="T58" fmla="*/ 27 w 222"/>
                    <a:gd name="T59" fmla="*/ 66 h 141"/>
                    <a:gd name="T60" fmla="*/ 16 w 222"/>
                    <a:gd name="T61" fmla="*/ 82 h 141"/>
                    <a:gd name="T62" fmla="*/ 3 w 222"/>
                    <a:gd name="T63" fmla="*/ 84 h 1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22" h="141">
                      <a:moveTo>
                        <a:pt x="3" y="84"/>
                      </a:moveTo>
                      <a:cubicBezTo>
                        <a:pt x="0" y="104"/>
                        <a:pt x="0" y="104"/>
                        <a:pt x="0" y="104"/>
                      </a:cubicBezTo>
                      <a:cubicBezTo>
                        <a:pt x="0" y="104"/>
                        <a:pt x="17" y="121"/>
                        <a:pt x="20" y="122"/>
                      </a:cubicBezTo>
                      <a:cubicBezTo>
                        <a:pt x="24" y="124"/>
                        <a:pt x="11" y="130"/>
                        <a:pt x="11" y="130"/>
                      </a:cubicBezTo>
                      <a:cubicBezTo>
                        <a:pt x="11" y="139"/>
                        <a:pt x="11" y="139"/>
                        <a:pt x="11" y="139"/>
                      </a:cubicBezTo>
                      <a:cubicBezTo>
                        <a:pt x="14" y="141"/>
                        <a:pt x="14" y="141"/>
                        <a:pt x="14" y="141"/>
                      </a:cubicBezTo>
                      <a:cubicBezTo>
                        <a:pt x="80" y="113"/>
                        <a:pt x="80" y="113"/>
                        <a:pt x="80" y="113"/>
                      </a:cubicBezTo>
                      <a:cubicBezTo>
                        <a:pt x="98" y="126"/>
                        <a:pt x="98" y="126"/>
                        <a:pt x="98" y="126"/>
                      </a:cubicBezTo>
                      <a:cubicBezTo>
                        <a:pt x="122" y="119"/>
                        <a:pt x="122" y="119"/>
                        <a:pt x="122" y="119"/>
                      </a:cubicBezTo>
                      <a:cubicBezTo>
                        <a:pt x="135" y="141"/>
                        <a:pt x="135" y="141"/>
                        <a:pt x="135" y="141"/>
                      </a:cubicBezTo>
                      <a:cubicBezTo>
                        <a:pt x="193" y="141"/>
                        <a:pt x="193" y="141"/>
                        <a:pt x="193" y="141"/>
                      </a:cubicBezTo>
                      <a:cubicBezTo>
                        <a:pt x="222" y="119"/>
                        <a:pt x="222" y="119"/>
                        <a:pt x="222" y="119"/>
                      </a:cubicBezTo>
                      <a:cubicBezTo>
                        <a:pt x="206" y="93"/>
                        <a:pt x="206" y="93"/>
                        <a:pt x="206" y="93"/>
                      </a:cubicBezTo>
                      <a:cubicBezTo>
                        <a:pt x="220" y="64"/>
                        <a:pt x="220" y="64"/>
                        <a:pt x="220" y="64"/>
                      </a:cubicBezTo>
                      <a:cubicBezTo>
                        <a:pt x="220" y="47"/>
                        <a:pt x="220" y="47"/>
                        <a:pt x="220" y="47"/>
                      </a:cubicBezTo>
                      <a:cubicBezTo>
                        <a:pt x="220" y="22"/>
                        <a:pt x="220" y="22"/>
                        <a:pt x="220" y="22"/>
                      </a:cubicBezTo>
                      <a:cubicBezTo>
                        <a:pt x="213" y="16"/>
                        <a:pt x="213" y="16"/>
                        <a:pt x="213" y="16"/>
                      </a:cubicBezTo>
                      <a:cubicBezTo>
                        <a:pt x="192" y="15"/>
                        <a:pt x="192" y="15"/>
                        <a:pt x="192" y="15"/>
                      </a:cubicBezTo>
                      <a:cubicBezTo>
                        <a:pt x="179" y="0"/>
                        <a:pt x="179" y="0"/>
                        <a:pt x="179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3" y="6"/>
                        <a:pt x="163" y="6"/>
                        <a:pt x="163" y="6"/>
                      </a:cubicBezTo>
                      <a:cubicBezTo>
                        <a:pt x="141" y="14"/>
                        <a:pt x="141" y="14"/>
                        <a:pt x="141" y="14"/>
                      </a:cubicBezTo>
                      <a:cubicBezTo>
                        <a:pt x="119" y="36"/>
                        <a:pt x="119" y="36"/>
                        <a:pt x="119" y="36"/>
                      </a:cubicBezTo>
                      <a:cubicBezTo>
                        <a:pt x="107" y="62"/>
                        <a:pt x="107" y="62"/>
                        <a:pt x="107" y="62"/>
                      </a:cubicBezTo>
                      <a:cubicBezTo>
                        <a:pt x="95" y="66"/>
                        <a:pt x="95" y="66"/>
                        <a:pt x="95" y="66"/>
                      </a:cubicBezTo>
                      <a:cubicBezTo>
                        <a:pt x="86" y="78"/>
                        <a:pt x="86" y="78"/>
                        <a:pt x="86" y="78"/>
                      </a:cubicBezTo>
                      <a:cubicBezTo>
                        <a:pt x="46" y="73"/>
                        <a:pt x="46" y="73"/>
                        <a:pt x="46" y="73"/>
                      </a:cubicBezTo>
                      <a:cubicBezTo>
                        <a:pt x="37" y="61"/>
                        <a:pt x="37" y="61"/>
                        <a:pt x="37" y="61"/>
                      </a:cubicBezTo>
                      <a:cubicBezTo>
                        <a:pt x="36" y="62"/>
                        <a:pt x="36" y="62"/>
                        <a:pt x="36" y="62"/>
                      </a:cubicBezTo>
                      <a:cubicBezTo>
                        <a:pt x="27" y="66"/>
                        <a:pt x="27" y="66"/>
                        <a:pt x="27" y="66"/>
                      </a:cubicBezTo>
                      <a:cubicBezTo>
                        <a:pt x="16" y="82"/>
                        <a:pt x="16" y="82"/>
                        <a:pt x="16" y="82"/>
                      </a:cubicBezTo>
                      <a:lnTo>
                        <a:pt x="3" y="84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5" name="Freeform 14"/>
                <p:cNvSpPr>
                  <a:spLocks/>
                </p:cNvSpPr>
                <p:nvPr/>
              </p:nvSpPr>
              <p:spPr bwMode="gray">
                <a:xfrm>
                  <a:off x="4672013" y="4792663"/>
                  <a:ext cx="217487" cy="342900"/>
                </a:xfrm>
                <a:custGeom>
                  <a:avLst/>
                  <a:gdLst>
                    <a:gd name="T0" fmla="*/ 13 w 137"/>
                    <a:gd name="T1" fmla="*/ 109 h 216"/>
                    <a:gd name="T2" fmla="*/ 18 w 137"/>
                    <a:gd name="T3" fmla="*/ 106 h 216"/>
                    <a:gd name="T4" fmla="*/ 32 w 137"/>
                    <a:gd name="T5" fmla="*/ 130 h 216"/>
                    <a:gd name="T6" fmla="*/ 61 w 137"/>
                    <a:gd name="T7" fmla="*/ 153 h 216"/>
                    <a:gd name="T8" fmla="*/ 58 w 137"/>
                    <a:gd name="T9" fmla="*/ 177 h 216"/>
                    <a:gd name="T10" fmla="*/ 70 w 137"/>
                    <a:gd name="T11" fmla="*/ 193 h 216"/>
                    <a:gd name="T12" fmla="*/ 69 w 137"/>
                    <a:gd name="T13" fmla="*/ 202 h 216"/>
                    <a:gd name="T14" fmla="*/ 110 w 137"/>
                    <a:gd name="T15" fmla="*/ 216 h 216"/>
                    <a:gd name="T16" fmla="*/ 130 w 137"/>
                    <a:gd name="T17" fmla="*/ 184 h 216"/>
                    <a:gd name="T18" fmla="*/ 122 w 137"/>
                    <a:gd name="T19" fmla="*/ 157 h 216"/>
                    <a:gd name="T20" fmla="*/ 128 w 137"/>
                    <a:gd name="T21" fmla="*/ 124 h 216"/>
                    <a:gd name="T22" fmla="*/ 108 w 137"/>
                    <a:gd name="T23" fmla="*/ 118 h 216"/>
                    <a:gd name="T24" fmla="*/ 108 w 137"/>
                    <a:gd name="T25" fmla="*/ 109 h 216"/>
                    <a:gd name="T26" fmla="*/ 120 w 137"/>
                    <a:gd name="T27" fmla="*/ 92 h 216"/>
                    <a:gd name="T28" fmla="*/ 110 w 137"/>
                    <a:gd name="T29" fmla="*/ 85 h 216"/>
                    <a:gd name="T30" fmla="*/ 110 w 137"/>
                    <a:gd name="T31" fmla="*/ 69 h 216"/>
                    <a:gd name="T32" fmla="*/ 118 w 137"/>
                    <a:gd name="T33" fmla="*/ 65 h 216"/>
                    <a:gd name="T34" fmla="*/ 137 w 137"/>
                    <a:gd name="T35" fmla="*/ 41 h 216"/>
                    <a:gd name="T36" fmla="*/ 114 w 137"/>
                    <a:gd name="T37" fmla="*/ 13 h 216"/>
                    <a:gd name="T38" fmla="*/ 113 w 137"/>
                    <a:gd name="T39" fmla="*/ 0 h 216"/>
                    <a:gd name="T40" fmla="*/ 88 w 137"/>
                    <a:gd name="T41" fmla="*/ 16 h 216"/>
                    <a:gd name="T42" fmla="*/ 72 w 137"/>
                    <a:gd name="T43" fmla="*/ 6 h 216"/>
                    <a:gd name="T44" fmla="*/ 50 w 137"/>
                    <a:gd name="T45" fmla="*/ 10 h 216"/>
                    <a:gd name="T46" fmla="*/ 30 w 137"/>
                    <a:gd name="T47" fmla="*/ 29 h 216"/>
                    <a:gd name="T48" fmla="*/ 0 w 137"/>
                    <a:gd name="T49" fmla="*/ 29 h 216"/>
                    <a:gd name="T50" fmla="*/ 13 w 137"/>
                    <a:gd name="T51" fmla="*/ 48 h 216"/>
                    <a:gd name="T52" fmla="*/ 13 w 137"/>
                    <a:gd name="T53" fmla="*/ 109 h 2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37" h="216">
                      <a:moveTo>
                        <a:pt x="13" y="109"/>
                      </a:moveTo>
                      <a:lnTo>
                        <a:pt x="18" y="106"/>
                      </a:lnTo>
                      <a:lnTo>
                        <a:pt x="32" y="130"/>
                      </a:lnTo>
                      <a:lnTo>
                        <a:pt x="61" y="153"/>
                      </a:lnTo>
                      <a:lnTo>
                        <a:pt x="58" y="177"/>
                      </a:lnTo>
                      <a:lnTo>
                        <a:pt x="70" y="193"/>
                      </a:lnTo>
                      <a:lnTo>
                        <a:pt x="69" y="202"/>
                      </a:lnTo>
                      <a:lnTo>
                        <a:pt x="110" y="216"/>
                      </a:lnTo>
                      <a:lnTo>
                        <a:pt x="130" y="184"/>
                      </a:lnTo>
                      <a:lnTo>
                        <a:pt x="122" y="157"/>
                      </a:lnTo>
                      <a:lnTo>
                        <a:pt x="128" y="124"/>
                      </a:lnTo>
                      <a:lnTo>
                        <a:pt x="108" y="118"/>
                      </a:lnTo>
                      <a:lnTo>
                        <a:pt x="108" y="109"/>
                      </a:lnTo>
                      <a:lnTo>
                        <a:pt x="120" y="92"/>
                      </a:lnTo>
                      <a:lnTo>
                        <a:pt x="110" y="85"/>
                      </a:lnTo>
                      <a:lnTo>
                        <a:pt x="110" y="69"/>
                      </a:lnTo>
                      <a:lnTo>
                        <a:pt x="118" y="65"/>
                      </a:lnTo>
                      <a:lnTo>
                        <a:pt x="137" y="41"/>
                      </a:lnTo>
                      <a:lnTo>
                        <a:pt x="114" y="13"/>
                      </a:lnTo>
                      <a:lnTo>
                        <a:pt x="113" y="0"/>
                      </a:lnTo>
                      <a:lnTo>
                        <a:pt x="88" y="16"/>
                      </a:lnTo>
                      <a:lnTo>
                        <a:pt x="72" y="6"/>
                      </a:lnTo>
                      <a:lnTo>
                        <a:pt x="50" y="10"/>
                      </a:lnTo>
                      <a:lnTo>
                        <a:pt x="30" y="29"/>
                      </a:lnTo>
                      <a:lnTo>
                        <a:pt x="0" y="29"/>
                      </a:lnTo>
                      <a:lnTo>
                        <a:pt x="13" y="48"/>
                      </a:lnTo>
                      <a:lnTo>
                        <a:pt x="13" y="109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6" name="Freeform 15"/>
                <p:cNvSpPr>
                  <a:spLocks/>
                </p:cNvSpPr>
                <p:nvPr/>
              </p:nvSpPr>
              <p:spPr bwMode="gray">
                <a:xfrm>
                  <a:off x="4316413" y="4446588"/>
                  <a:ext cx="568325" cy="422275"/>
                </a:xfrm>
                <a:custGeom>
                  <a:avLst/>
                  <a:gdLst>
                    <a:gd name="T0" fmla="*/ 244 w 358"/>
                    <a:gd name="T1" fmla="*/ 26 h 266"/>
                    <a:gd name="T2" fmla="*/ 252 w 358"/>
                    <a:gd name="T3" fmla="*/ 39 h 266"/>
                    <a:gd name="T4" fmla="*/ 248 w 358"/>
                    <a:gd name="T5" fmla="*/ 67 h 266"/>
                    <a:gd name="T6" fmla="*/ 288 w 358"/>
                    <a:gd name="T7" fmla="*/ 64 h 266"/>
                    <a:gd name="T8" fmla="*/ 313 w 358"/>
                    <a:gd name="T9" fmla="*/ 78 h 266"/>
                    <a:gd name="T10" fmla="*/ 322 w 358"/>
                    <a:gd name="T11" fmla="*/ 98 h 266"/>
                    <a:gd name="T12" fmla="*/ 349 w 358"/>
                    <a:gd name="T13" fmla="*/ 99 h 266"/>
                    <a:gd name="T14" fmla="*/ 352 w 358"/>
                    <a:gd name="T15" fmla="*/ 110 h 266"/>
                    <a:gd name="T16" fmla="*/ 329 w 358"/>
                    <a:gd name="T17" fmla="*/ 126 h 266"/>
                    <a:gd name="T18" fmla="*/ 322 w 358"/>
                    <a:gd name="T19" fmla="*/ 150 h 266"/>
                    <a:gd name="T20" fmla="*/ 354 w 358"/>
                    <a:gd name="T21" fmla="*/ 164 h 266"/>
                    <a:gd name="T22" fmla="*/ 358 w 358"/>
                    <a:gd name="T23" fmla="*/ 183 h 266"/>
                    <a:gd name="T24" fmla="*/ 337 w 358"/>
                    <a:gd name="T25" fmla="*/ 200 h 266"/>
                    <a:gd name="T26" fmla="*/ 337 w 358"/>
                    <a:gd name="T27" fmla="*/ 218 h 266"/>
                    <a:gd name="T28" fmla="*/ 312 w 358"/>
                    <a:gd name="T29" fmla="*/ 234 h 266"/>
                    <a:gd name="T30" fmla="*/ 296 w 358"/>
                    <a:gd name="T31" fmla="*/ 224 h 266"/>
                    <a:gd name="T32" fmla="*/ 274 w 358"/>
                    <a:gd name="T33" fmla="*/ 228 h 266"/>
                    <a:gd name="T34" fmla="*/ 254 w 358"/>
                    <a:gd name="T35" fmla="*/ 247 h 266"/>
                    <a:gd name="T36" fmla="*/ 224 w 358"/>
                    <a:gd name="T37" fmla="*/ 247 h 266"/>
                    <a:gd name="T38" fmla="*/ 198 w 358"/>
                    <a:gd name="T39" fmla="*/ 266 h 266"/>
                    <a:gd name="T40" fmla="*/ 184 w 358"/>
                    <a:gd name="T41" fmla="*/ 244 h 266"/>
                    <a:gd name="T42" fmla="*/ 200 w 358"/>
                    <a:gd name="T43" fmla="*/ 234 h 266"/>
                    <a:gd name="T44" fmla="*/ 178 w 358"/>
                    <a:gd name="T45" fmla="*/ 222 h 266"/>
                    <a:gd name="T46" fmla="*/ 161 w 358"/>
                    <a:gd name="T47" fmla="*/ 232 h 266"/>
                    <a:gd name="T48" fmla="*/ 144 w 358"/>
                    <a:gd name="T49" fmla="*/ 218 h 266"/>
                    <a:gd name="T50" fmla="*/ 122 w 358"/>
                    <a:gd name="T51" fmla="*/ 219 h 266"/>
                    <a:gd name="T52" fmla="*/ 81 w 358"/>
                    <a:gd name="T53" fmla="*/ 183 h 266"/>
                    <a:gd name="T54" fmla="*/ 37 w 358"/>
                    <a:gd name="T55" fmla="*/ 172 h 266"/>
                    <a:gd name="T56" fmla="*/ 14 w 358"/>
                    <a:gd name="T57" fmla="*/ 168 h 266"/>
                    <a:gd name="T58" fmla="*/ 9 w 358"/>
                    <a:gd name="T59" fmla="*/ 138 h 266"/>
                    <a:gd name="T60" fmla="*/ 0 w 358"/>
                    <a:gd name="T61" fmla="*/ 92 h 266"/>
                    <a:gd name="T62" fmla="*/ 22 w 358"/>
                    <a:gd name="T63" fmla="*/ 64 h 266"/>
                    <a:gd name="T64" fmla="*/ 30 w 358"/>
                    <a:gd name="T65" fmla="*/ 52 h 266"/>
                    <a:gd name="T66" fmla="*/ 58 w 358"/>
                    <a:gd name="T67" fmla="*/ 50 h 266"/>
                    <a:gd name="T68" fmla="*/ 54 w 358"/>
                    <a:gd name="T69" fmla="*/ 28 h 266"/>
                    <a:gd name="T70" fmla="*/ 70 w 358"/>
                    <a:gd name="T71" fmla="*/ 0 h 266"/>
                    <a:gd name="T72" fmla="*/ 114 w 358"/>
                    <a:gd name="T73" fmla="*/ 0 h 266"/>
                    <a:gd name="T74" fmla="*/ 132 w 358"/>
                    <a:gd name="T75" fmla="*/ 14 h 266"/>
                    <a:gd name="T76" fmla="*/ 152 w 358"/>
                    <a:gd name="T77" fmla="*/ 10 h 266"/>
                    <a:gd name="T78" fmla="*/ 166 w 358"/>
                    <a:gd name="T79" fmla="*/ 20 h 266"/>
                    <a:gd name="T80" fmla="*/ 192 w 358"/>
                    <a:gd name="T81" fmla="*/ 28 h 266"/>
                    <a:gd name="T82" fmla="*/ 205 w 358"/>
                    <a:gd name="T83" fmla="*/ 11 h 266"/>
                    <a:gd name="T84" fmla="*/ 218 w 358"/>
                    <a:gd name="T85" fmla="*/ 6 h 266"/>
                    <a:gd name="T86" fmla="*/ 244 w 358"/>
                    <a:gd name="T87" fmla="*/ 26 h 2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358" h="266">
                      <a:moveTo>
                        <a:pt x="244" y="26"/>
                      </a:moveTo>
                      <a:lnTo>
                        <a:pt x="252" y="39"/>
                      </a:lnTo>
                      <a:lnTo>
                        <a:pt x="248" y="67"/>
                      </a:lnTo>
                      <a:lnTo>
                        <a:pt x="288" y="64"/>
                      </a:lnTo>
                      <a:lnTo>
                        <a:pt x="313" y="78"/>
                      </a:lnTo>
                      <a:lnTo>
                        <a:pt x="322" y="98"/>
                      </a:lnTo>
                      <a:lnTo>
                        <a:pt x="349" y="99"/>
                      </a:lnTo>
                      <a:lnTo>
                        <a:pt x="352" y="110"/>
                      </a:lnTo>
                      <a:lnTo>
                        <a:pt x="329" y="126"/>
                      </a:lnTo>
                      <a:lnTo>
                        <a:pt x="322" y="150"/>
                      </a:lnTo>
                      <a:lnTo>
                        <a:pt x="354" y="164"/>
                      </a:lnTo>
                      <a:lnTo>
                        <a:pt x="358" y="183"/>
                      </a:lnTo>
                      <a:lnTo>
                        <a:pt x="337" y="200"/>
                      </a:lnTo>
                      <a:lnTo>
                        <a:pt x="337" y="218"/>
                      </a:lnTo>
                      <a:lnTo>
                        <a:pt x="312" y="234"/>
                      </a:lnTo>
                      <a:lnTo>
                        <a:pt x="296" y="224"/>
                      </a:lnTo>
                      <a:lnTo>
                        <a:pt x="274" y="228"/>
                      </a:lnTo>
                      <a:lnTo>
                        <a:pt x="254" y="247"/>
                      </a:lnTo>
                      <a:lnTo>
                        <a:pt x="224" y="247"/>
                      </a:lnTo>
                      <a:lnTo>
                        <a:pt x="198" y="266"/>
                      </a:lnTo>
                      <a:lnTo>
                        <a:pt x="184" y="244"/>
                      </a:lnTo>
                      <a:lnTo>
                        <a:pt x="200" y="234"/>
                      </a:lnTo>
                      <a:lnTo>
                        <a:pt x="178" y="222"/>
                      </a:lnTo>
                      <a:lnTo>
                        <a:pt x="161" y="232"/>
                      </a:lnTo>
                      <a:lnTo>
                        <a:pt x="144" y="218"/>
                      </a:lnTo>
                      <a:lnTo>
                        <a:pt x="122" y="219"/>
                      </a:lnTo>
                      <a:lnTo>
                        <a:pt x="81" y="183"/>
                      </a:lnTo>
                      <a:lnTo>
                        <a:pt x="37" y="172"/>
                      </a:lnTo>
                      <a:lnTo>
                        <a:pt x="14" y="168"/>
                      </a:lnTo>
                      <a:lnTo>
                        <a:pt x="9" y="138"/>
                      </a:lnTo>
                      <a:lnTo>
                        <a:pt x="0" y="92"/>
                      </a:lnTo>
                      <a:lnTo>
                        <a:pt x="22" y="64"/>
                      </a:lnTo>
                      <a:lnTo>
                        <a:pt x="30" y="52"/>
                      </a:lnTo>
                      <a:lnTo>
                        <a:pt x="58" y="50"/>
                      </a:lnTo>
                      <a:lnTo>
                        <a:pt x="54" y="28"/>
                      </a:lnTo>
                      <a:lnTo>
                        <a:pt x="70" y="0"/>
                      </a:lnTo>
                      <a:lnTo>
                        <a:pt x="114" y="0"/>
                      </a:lnTo>
                      <a:lnTo>
                        <a:pt x="132" y="14"/>
                      </a:lnTo>
                      <a:lnTo>
                        <a:pt x="152" y="10"/>
                      </a:lnTo>
                      <a:lnTo>
                        <a:pt x="166" y="20"/>
                      </a:lnTo>
                      <a:lnTo>
                        <a:pt x="192" y="28"/>
                      </a:lnTo>
                      <a:lnTo>
                        <a:pt x="205" y="11"/>
                      </a:lnTo>
                      <a:lnTo>
                        <a:pt x="218" y="6"/>
                      </a:lnTo>
                      <a:lnTo>
                        <a:pt x="244" y="26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7" name="Freeform 16"/>
                <p:cNvSpPr>
                  <a:spLocks/>
                </p:cNvSpPr>
                <p:nvPr/>
              </p:nvSpPr>
              <p:spPr bwMode="gray">
                <a:xfrm>
                  <a:off x="3840163" y="3932238"/>
                  <a:ext cx="928687" cy="660400"/>
                </a:xfrm>
                <a:custGeom>
                  <a:avLst/>
                  <a:gdLst>
                    <a:gd name="T0" fmla="*/ 68 w 585"/>
                    <a:gd name="T1" fmla="*/ 318 h 416"/>
                    <a:gd name="T2" fmla="*/ 48 w 585"/>
                    <a:gd name="T3" fmla="*/ 271 h 416"/>
                    <a:gd name="T4" fmla="*/ 42 w 585"/>
                    <a:gd name="T5" fmla="*/ 212 h 416"/>
                    <a:gd name="T6" fmla="*/ 6 w 585"/>
                    <a:gd name="T7" fmla="*/ 152 h 416"/>
                    <a:gd name="T8" fmla="*/ 2 w 585"/>
                    <a:gd name="T9" fmla="*/ 136 h 416"/>
                    <a:gd name="T10" fmla="*/ 44 w 585"/>
                    <a:gd name="T11" fmla="*/ 52 h 416"/>
                    <a:gd name="T12" fmla="*/ 64 w 585"/>
                    <a:gd name="T13" fmla="*/ 12 h 416"/>
                    <a:gd name="T14" fmla="*/ 94 w 585"/>
                    <a:gd name="T15" fmla="*/ 16 h 416"/>
                    <a:gd name="T16" fmla="*/ 118 w 585"/>
                    <a:gd name="T17" fmla="*/ 0 h 416"/>
                    <a:gd name="T18" fmla="*/ 113 w 585"/>
                    <a:gd name="T19" fmla="*/ 50 h 416"/>
                    <a:gd name="T20" fmla="*/ 173 w 585"/>
                    <a:gd name="T21" fmla="*/ 75 h 416"/>
                    <a:gd name="T22" fmla="*/ 196 w 585"/>
                    <a:gd name="T23" fmla="*/ 111 h 416"/>
                    <a:gd name="T24" fmla="*/ 240 w 585"/>
                    <a:gd name="T25" fmla="*/ 100 h 416"/>
                    <a:gd name="T26" fmla="*/ 260 w 585"/>
                    <a:gd name="T27" fmla="*/ 138 h 416"/>
                    <a:gd name="T28" fmla="*/ 270 w 585"/>
                    <a:gd name="T29" fmla="*/ 171 h 416"/>
                    <a:gd name="T30" fmla="*/ 334 w 585"/>
                    <a:gd name="T31" fmla="*/ 198 h 416"/>
                    <a:gd name="T32" fmla="*/ 408 w 585"/>
                    <a:gd name="T33" fmla="*/ 239 h 416"/>
                    <a:gd name="T34" fmla="*/ 481 w 585"/>
                    <a:gd name="T35" fmla="*/ 218 h 416"/>
                    <a:gd name="T36" fmla="*/ 510 w 585"/>
                    <a:gd name="T37" fmla="*/ 240 h 416"/>
                    <a:gd name="T38" fmla="*/ 553 w 585"/>
                    <a:gd name="T39" fmla="*/ 268 h 416"/>
                    <a:gd name="T40" fmla="*/ 585 w 585"/>
                    <a:gd name="T41" fmla="*/ 306 h 416"/>
                    <a:gd name="T42" fmla="*/ 549 w 585"/>
                    <a:gd name="T43" fmla="*/ 334 h 416"/>
                    <a:gd name="T44" fmla="*/ 518 w 585"/>
                    <a:gd name="T45" fmla="*/ 330 h 416"/>
                    <a:gd name="T46" fmla="*/ 492 w 585"/>
                    <a:gd name="T47" fmla="*/ 352 h 416"/>
                    <a:gd name="T48" fmla="*/ 452 w 585"/>
                    <a:gd name="T49" fmla="*/ 334 h 416"/>
                    <a:gd name="T50" fmla="*/ 414 w 585"/>
                    <a:gd name="T51" fmla="*/ 324 h 416"/>
                    <a:gd name="T52" fmla="*/ 354 w 585"/>
                    <a:gd name="T53" fmla="*/ 352 h 416"/>
                    <a:gd name="T54" fmla="*/ 330 w 585"/>
                    <a:gd name="T55" fmla="*/ 376 h 416"/>
                    <a:gd name="T56" fmla="*/ 300 w 585"/>
                    <a:gd name="T57" fmla="*/ 416 h 416"/>
                    <a:gd name="T58" fmla="*/ 300 w 585"/>
                    <a:gd name="T59" fmla="*/ 416 h 416"/>
                    <a:gd name="T60" fmla="*/ 258 w 585"/>
                    <a:gd name="T61" fmla="*/ 398 h 416"/>
                    <a:gd name="T62" fmla="*/ 217 w 585"/>
                    <a:gd name="T63" fmla="*/ 332 h 416"/>
                    <a:gd name="T64" fmla="*/ 181 w 585"/>
                    <a:gd name="T65" fmla="*/ 312 h 416"/>
                    <a:gd name="T66" fmla="*/ 173 w 585"/>
                    <a:gd name="T67" fmla="*/ 327 h 416"/>
                    <a:gd name="T68" fmla="*/ 113 w 585"/>
                    <a:gd name="T69" fmla="*/ 340 h 416"/>
                    <a:gd name="T70" fmla="*/ 77 w 585"/>
                    <a:gd name="T71" fmla="*/ 356 h 4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585" h="416">
                      <a:moveTo>
                        <a:pt x="76" y="354"/>
                      </a:moveTo>
                      <a:lnTo>
                        <a:pt x="68" y="318"/>
                      </a:lnTo>
                      <a:lnTo>
                        <a:pt x="42" y="294"/>
                      </a:lnTo>
                      <a:lnTo>
                        <a:pt x="48" y="271"/>
                      </a:lnTo>
                      <a:lnTo>
                        <a:pt x="38" y="250"/>
                      </a:lnTo>
                      <a:lnTo>
                        <a:pt x="42" y="212"/>
                      </a:lnTo>
                      <a:lnTo>
                        <a:pt x="30" y="176"/>
                      </a:lnTo>
                      <a:lnTo>
                        <a:pt x="6" y="152"/>
                      </a:lnTo>
                      <a:lnTo>
                        <a:pt x="0" y="140"/>
                      </a:lnTo>
                      <a:lnTo>
                        <a:pt x="2" y="136"/>
                      </a:lnTo>
                      <a:lnTo>
                        <a:pt x="22" y="70"/>
                      </a:lnTo>
                      <a:lnTo>
                        <a:pt x="44" y="52"/>
                      </a:lnTo>
                      <a:lnTo>
                        <a:pt x="48" y="26"/>
                      </a:lnTo>
                      <a:lnTo>
                        <a:pt x="64" y="12"/>
                      </a:lnTo>
                      <a:lnTo>
                        <a:pt x="84" y="16"/>
                      </a:lnTo>
                      <a:lnTo>
                        <a:pt x="94" y="16"/>
                      </a:lnTo>
                      <a:lnTo>
                        <a:pt x="105" y="0"/>
                      </a:lnTo>
                      <a:lnTo>
                        <a:pt x="118" y="0"/>
                      </a:lnTo>
                      <a:lnTo>
                        <a:pt x="128" y="18"/>
                      </a:lnTo>
                      <a:lnTo>
                        <a:pt x="113" y="50"/>
                      </a:lnTo>
                      <a:lnTo>
                        <a:pt x="133" y="75"/>
                      </a:lnTo>
                      <a:lnTo>
                        <a:pt x="173" y="75"/>
                      </a:lnTo>
                      <a:lnTo>
                        <a:pt x="192" y="86"/>
                      </a:lnTo>
                      <a:lnTo>
                        <a:pt x="196" y="111"/>
                      </a:lnTo>
                      <a:lnTo>
                        <a:pt x="225" y="111"/>
                      </a:lnTo>
                      <a:lnTo>
                        <a:pt x="240" y="100"/>
                      </a:lnTo>
                      <a:lnTo>
                        <a:pt x="260" y="119"/>
                      </a:lnTo>
                      <a:lnTo>
                        <a:pt x="260" y="138"/>
                      </a:lnTo>
                      <a:lnTo>
                        <a:pt x="273" y="150"/>
                      </a:lnTo>
                      <a:lnTo>
                        <a:pt x="270" y="171"/>
                      </a:lnTo>
                      <a:lnTo>
                        <a:pt x="301" y="175"/>
                      </a:lnTo>
                      <a:lnTo>
                        <a:pt x="334" y="198"/>
                      </a:lnTo>
                      <a:lnTo>
                        <a:pt x="373" y="203"/>
                      </a:lnTo>
                      <a:lnTo>
                        <a:pt x="408" y="239"/>
                      </a:lnTo>
                      <a:lnTo>
                        <a:pt x="454" y="242"/>
                      </a:lnTo>
                      <a:lnTo>
                        <a:pt x="481" y="218"/>
                      </a:lnTo>
                      <a:lnTo>
                        <a:pt x="488" y="240"/>
                      </a:lnTo>
                      <a:lnTo>
                        <a:pt x="510" y="240"/>
                      </a:lnTo>
                      <a:lnTo>
                        <a:pt x="553" y="268"/>
                      </a:lnTo>
                      <a:lnTo>
                        <a:pt x="553" y="268"/>
                      </a:lnTo>
                      <a:lnTo>
                        <a:pt x="554" y="292"/>
                      </a:lnTo>
                      <a:lnTo>
                        <a:pt x="585" y="306"/>
                      </a:lnTo>
                      <a:lnTo>
                        <a:pt x="584" y="315"/>
                      </a:lnTo>
                      <a:lnTo>
                        <a:pt x="549" y="334"/>
                      </a:lnTo>
                      <a:lnTo>
                        <a:pt x="544" y="350"/>
                      </a:lnTo>
                      <a:lnTo>
                        <a:pt x="518" y="330"/>
                      </a:lnTo>
                      <a:lnTo>
                        <a:pt x="505" y="335"/>
                      </a:lnTo>
                      <a:lnTo>
                        <a:pt x="492" y="352"/>
                      </a:lnTo>
                      <a:lnTo>
                        <a:pt x="466" y="344"/>
                      </a:lnTo>
                      <a:lnTo>
                        <a:pt x="452" y="334"/>
                      </a:lnTo>
                      <a:lnTo>
                        <a:pt x="432" y="338"/>
                      </a:lnTo>
                      <a:lnTo>
                        <a:pt x="414" y="324"/>
                      </a:lnTo>
                      <a:lnTo>
                        <a:pt x="370" y="324"/>
                      </a:lnTo>
                      <a:lnTo>
                        <a:pt x="354" y="352"/>
                      </a:lnTo>
                      <a:lnTo>
                        <a:pt x="358" y="374"/>
                      </a:lnTo>
                      <a:lnTo>
                        <a:pt x="330" y="376"/>
                      </a:lnTo>
                      <a:lnTo>
                        <a:pt x="322" y="388"/>
                      </a:lnTo>
                      <a:lnTo>
                        <a:pt x="300" y="416"/>
                      </a:lnTo>
                      <a:lnTo>
                        <a:pt x="298" y="414"/>
                      </a:lnTo>
                      <a:lnTo>
                        <a:pt x="300" y="416"/>
                      </a:lnTo>
                      <a:lnTo>
                        <a:pt x="289" y="403"/>
                      </a:lnTo>
                      <a:lnTo>
                        <a:pt x="258" y="398"/>
                      </a:lnTo>
                      <a:lnTo>
                        <a:pt x="237" y="356"/>
                      </a:lnTo>
                      <a:lnTo>
                        <a:pt x="217" y="332"/>
                      </a:lnTo>
                      <a:lnTo>
                        <a:pt x="202" y="327"/>
                      </a:lnTo>
                      <a:lnTo>
                        <a:pt x="181" y="312"/>
                      </a:lnTo>
                      <a:lnTo>
                        <a:pt x="173" y="327"/>
                      </a:lnTo>
                      <a:lnTo>
                        <a:pt x="173" y="327"/>
                      </a:lnTo>
                      <a:lnTo>
                        <a:pt x="142" y="339"/>
                      </a:lnTo>
                      <a:lnTo>
                        <a:pt x="113" y="340"/>
                      </a:lnTo>
                      <a:lnTo>
                        <a:pt x="101" y="354"/>
                      </a:lnTo>
                      <a:lnTo>
                        <a:pt x="77" y="356"/>
                      </a:lnTo>
                      <a:lnTo>
                        <a:pt x="76" y="354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" name="Freeform 17"/>
                <p:cNvSpPr>
                  <a:spLocks/>
                </p:cNvSpPr>
                <p:nvPr/>
              </p:nvSpPr>
              <p:spPr bwMode="gray">
                <a:xfrm>
                  <a:off x="4711700" y="3892550"/>
                  <a:ext cx="233362" cy="77788"/>
                </a:xfrm>
                <a:custGeom>
                  <a:avLst/>
                  <a:gdLst>
                    <a:gd name="T0" fmla="*/ 0 w 147"/>
                    <a:gd name="T1" fmla="*/ 0 h 49"/>
                    <a:gd name="T2" fmla="*/ 12 w 147"/>
                    <a:gd name="T3" fmla="*/ 11 h 49"/>
                    <a:gd name="T4" fmla="*/ 15 w 147"/>
                    <a:gd name="T5" fmla="*/ 35 h 49"/>
                    <a:gd name="T6" fmla="*/ 31 w 147"/>
                    <a:gd name="T7" fmla="*/ 43 h 49"/>
                    <a:gd name="T8" fmla="*/ 47 w 147"/>
                    <a:gd name="T9" fmla="*/ 9 h 49"/>
                    <a:gd name="T10" fmla="*/ 65 w 147"/>
                    <a:gd name="T11" fmla="*/ 25 h 49"/>
                    <a:gd name="T12" fmla="*/ 79 w 147"/>
                    <a:gd name="T13" fmla="*/ 47 h 49"/>
                    <a:gd name="T14" fmla="*/ 115 w 147"/>
                    <a:gd name="T15" fmla="*/ 39 h 49"/>
                    <a:gd name="T16" fmla="*/ 147 w 147"/>
                    <a:gd name="T17" fmla="*/ 49 h 49"/>
                    <a:gd name="T18" fmla="*/ 0 w 147"/>
                    <a:gd name="T19" fmla="*/ 0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47" h="49">
                      <a:moveTo>
                        <a:pt x="0" y="0"/>
                      </a:moveTo>
                      <a:lnTo>
                        <a:pt x="12" y="11"/>
                      </a:lnTo>
                      <a:lnTo>
                        <a:pt x="15" y="35"/>
                      </a:lnTo>
                      <a:lnTo>
                        <a:pt x="31" y="43"/>
                      </a:lnTo>
                      <a:lnTo>
                        <a:pt x="47" y="9"/>
                      </a:lnTo>
                      <a:lnTo>
                        <a:pt x="65" y="25"/>
                      </a:lnTo>
                      <a:lnTo>
                        <a:pt x="79" y="47"/>
                      </a:lnTo>
                      <a:lnTo>
                        <a:pt x="115" y="39"/>
                      </a:lnTo>
                      <a:lnTo>
                        <a:pt x="147" y="4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" name="Freeform 18"/>
                <p:cNvSpPr>
                  <a:spLocks/>
                </p:cNvSpPr>
                <p:nvPr/>
              </p:nvSpPr>
              <p:spPr bwMode="gray">
                <a:xfrm>
                  <a:off x="4267200" y="4713288"/>
                  <a:ext cx="425450" cy="311150"/>
                </a:xfrm>
                <a:custGeom>
                  <a:avLst/>
                  <a:gdLst>
                    <a:gd name="T0" fmla="*/ 56 w 268"/>
                    <a:gd name="T1" fmla="*/ 182 h 196"/>
                    <a:gd name="T2" fmla="*/ 21 w 268"/>
                    <a:gd name="T3" fmla="*/ 150 h 196"/>
                    <a:gd name="T4" fmla="*/ 43 w 268"/>
                    <a:gd name="T5" fmla="*/ 139 h 196"/>
                    <a:gd name="T6" fmla="*/ 7 w 268"/>
                    <a:gd name="T7" fmla="*/ 132 h 196"/>
                    <a:gd name="T8" fmla="*/ 4 w 268"/>
                    <a:gd name="T9" fmla="*/ 134 h 196"/>
                    <a:gd name="T10" fmla="*/ 4 w 268"/>
                    <a:gd name="T11" fmla="*/ 119 h 196"/>
                    <a:gd name="T12" fmla="*/ 15 w 268"/>
                    <a:gd name="T13" fmla="*/ 112 h 196"/>
                    <a:gd name="T14" fmla="*/ 0 w 268"/>
                    <a:gd name="T15" fmla="*/ 86 h 196"/>
                    <a:gd name="T16" fmla="*/ 4 w 268"/>
                    <a:gd name="T17" fmla="*/ 60 h 196"/>
                    <a:gd name="T18" fmla="*/ 44 w 268"/>
                    <a:gd name="T19" fmla="*/ 42 h 196"/>
                    <a:gd name="T20" fmla="*/ 36 w 268"/>
                    <a:gd name="T21" fmla="*/ 27 h 196"/>
                    <a:gd name="T22" fmla="*/ 45 w 268"/>
                    <a:gd name="T23" fmla="*/ 8 h 196"/>
                    <a:gd name="T24" fmla="*/ 45 w 268"/>
                    <a:gd name="T25" fmla="*/ 0 h 196"/>
                    <a:gd name="T26" fmla="*/ 68 w 268"/>
                    <a:gd name="T27" fmla="*/ 4 h 196"/>
                    <a:gd name="T28" fmla="*/ 112 w 268"/>
                    <a:gd name="T29" fmla="*/ 15 h 196"/>
                    <a:gd name="T30" fmla="*/ 153 w 268"/>
                    <a:gd name="T31" fmla="*/ 51 h 196"/>
                    <a:gd name="T32" fmla="*/ 175 w 268"/>
                    <a:gd name="T33" fmla="*/ 50 h 196"/>
                    <a:gd name="T34" fmla="*/ 192 w 268"/>
                    <a:gd name="T35" fmla="*/ 64 h 196"/>
                    <a:gd name="T36" fmla="*/ 209 w 268"/>
                    <a:gd name="T37" fmla="*/ 54 h 196"/>
                    <a:gd name="T38" fmla="*/ 231 w 268"/>
                    <a:gd name="T39" fmla="*/ 66 h 196"/>
                    <a:gd name="T40" fmla="*/ 215 w 268"/>
                    <a:gd name="T41" fmla="*/ 76 h 196"/>
                    <a:gd name="T42" fmla="*/ 229 w 268"/>
                    <a:gd name="T43" fmla="*/ 98 h 196"/>
                    <a:gd name="T44" fmla="*/ 255 w 268"/>
                    <a:gd name="T45" fmla="*/ 79 h 196"/>
                    <a:gd name="T46" fmla="*/ 268 w 268"/>
                    <a:gd name="T47" fmla="*/ 98 h 196"/>
                    <a:gd name="T48" fmla="*/ 268 w 268"/>
                    <a:gd name="T49" fmla="*/ 159 h 196"/>
                    <a:gd name="T50" fmla="*/ 253 w 268"/>
                    <a:gd name="T51" fmla="*/ 166 h 196"/>
                    <a:gd name="T52" fmla="*/ 248 w 268"/>
                    <a:gd name="T53" fmla="*/ 178 h 196"/>
                    <a:gd name="T54" fmla="*/ 212 w 268"/>
                    <a:gd name="T55" fmla="*/ 178 h 196"/>
                    <a:gd name="T56" fmla="*/ 193 w 268"/>
                    <a:gd name="T57" fmla="*/ 196 h 196"/>
                    <a:gd name="T58" fmla="*/ 175 w 268"/>
                    <a:gd name="T59" fmla="*/ 186 h 196"/>
                    <a:gd name="T60" fmla="*/ 169 w 268"/>
                    <a:gd name="T61" fmla="*/ 166 h 196"/>
                    <a:gd name="T62" fmla="*/ 143 w 268"/>
                    <a:gd name="T63" fmla="*/ 156 h 196"/>
                    <a:gd name="T64" fmla="*/ 92 w 268"/>
                    <a:gd name="T65" fmla="*/ 183 h 196"/>
                    <a:gd name="T66" fmla="*/ 71 w 268"/>
                    <a:gd name="T67" fmla="*/ 175 h 196"/>
                    <a:gd name="T68" fmla="*/ 56 w 268"/>
                    <a:gd name="T69" fmla="*/ 182 h 1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268" h="196">
                      <a:moveTo>
                        <a:pt x="56" y="182"/>
                      </a:moveTo>
                      <a:lnTo>
                        <a:pt x="21" y="150"/>
                      </a:lnTo>
                      <a:lnTo>
                        <a:pt x="43" y="139"/>
                      </a:lnTo>
                      <a:lnTo>
                        <a:pt x="7" y="132"/>
                      </a:lnTo>
                      <a:lnTo>
                        <a:pt x="4" y="134"/>
                      </a:lnTo>
                      <a:lnTo>
                        <a:pt x="4" y="119"/>
                      </a:lnTo>
                      <a:lnTo>
                        <a:pt x="15" y="112"/>
                      </a:lnTo>
                      <a:lnTo>
                        <a:pt x="0" y="86"/>
                      </a:lnTo>
                      <a:lnTo>
                        <a:pt x="4" y="60"/>
                      </a:lnTo>
                      <a:lnTo>
                        <a:pt x="44" y="42"/>
                      </a:lnTo>
                      <a:lnTo>
                        <a:pt x="36" y="27"/>
                      </a:lnTo>
                      <a:lnTo>
                        <a:pt x="45" y="8"/>
                      </a:lnTo>
                      <a:lnTo>
                        <a:pt x="45" y="0"/>
                      </a:lnTo>
                      <a:lnTo>
                        <a:pt x="68" y="4"/>
                      </a:lnTo>
                      <a:lnTo>
                        <a:pt x="112" y="15"/>
                      </a:lnTo>
                      <a:lnTo>
                        <a:pt x="153" y="51"/>
                      </a:lnTo>
                      <a:lnTo>
                        <a:pt x="175" y="50"/>
                      </a:lnTo>
                      <a:lnTo>
                        <a:pt x="192" y="64"/>
                      </a:lnTo>
                      <a:lnTo>
                        <a:pt x="209" y="54"/>
                      </a:lnTo>
                      <a:lnTo>
                        <a:pt x="231" y="66"/>
                      </a:lnTo>
                      <a:lnTo>
                        <a:pt x="215" y="76"/>
                      </a:lnTo>
                      <a:lnTo>
                        <a:pt x="229" y="98"/>
                      </a:lnTo>
                      <a:lnTo>
                        <a:pt x="255" y="79"/>
                      </a:lnTo>
                      <a:lnTo>
                        <a:pt x="268" y="98"/>
                      </a:lnTo>
                      <a:lnTo>
                        <a:pt x="268" y="159"/>
                      </a:lnTo>
                      <a:lnTo>
                        <a:pt x="253" y="166"/>
                      </a:lnTo>
                      <a:lnTo>
                        <a:pt x="248" y="178"/>
                      </a:lnTo>
                      <a:lnTo>
                        <a:pt x="212" y="178"/>
                      </a:lnTo>
                      <a:lnTo>
                        <a:pt x="193" y="196"/>
                      </a:lnTo>
                      <a:lnTo>
                        <a:pt x="175" y="186"/>
                      </a:lnTo>
                      <a:lnTo>
                        <a:pt x="169" y="166"/>
                      </a:lnTo>
                      <a:lnTo>
                        <a:pt x="143" y="156"/>
                      </a:lnTo>
                      <a:lnTo>
                        <a:pt x="92" y="183"/>
                      </a:lnTo>
                      <a:lnTo>
                        <a:pt x="71" y="175"/>
                      </a:lnTo>
                      <a:lnTo>
                        <a:pt x="56" y="182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" name="Freeform 19"/>
                <p:cNvSpPr>
                  <a:spLocks/>
                </p:cNvSpPr>
                <p:nvPr/>
              </p:nvSpPr>
              <p:spPr bwMode="gray">
                <a:xfrm>
                  <a:off x="4627563" y="5113338"/>
                  <a:ext cx="276225" cy="271463"/>
                </a:xfrm>
                <a:custGeom>
                  <a:avLst/>
                  <a:gdLst>
                    <a:gd name="T0" fmla="*/ 0 w 174"/>
                    <a:gd name="T1" fmla="*/ 100 h 171"/>
                    <a:gd name="T2" fmla="*/ 0 w 174"/>
                    <a:gd name="T3" fmla="*/ 100 h 171"/>
                    <a:gd name="T4" fmla="*/ 14 w 174"/>
                    <a:gd name="T5" fmla="*/ 78 h 171"/>
                    <a:gd name="T6" fmla="*/ 8 w 174"/>
                    <a:gd name="T7" fmla="*/ 71 h 171"/>
                    <a:gd name="T8" fmla="*/ 10 w 174"/>
                    <a:gd name="T9" fmla="*/ 58 h 171"/>
                    <a:gd name="T10" fmla="*/ 38 w 174"/>
                    <a:gd name="T11" fmla="*/ 50 h 171"/>
                    <a:gd name="T12" fmla="*/ 73 w 174"/>
                    <a:gd name="T13" fmla="*/ 30 h 171"/>
                    <a:gd name="T14" fmla="*/ 85 w 174"/>
                    <a:gd name="T15" fmla="*/ 8 h 171"/>
                    <a:gd name="T16" fmla="*/ 97 w 174"/>
                    <a:gd name="T17" fmla="*/ 6 h 171"/>
                    <a:gd name="T18" fmla="*/ 97 w 174"/>
                    <a:gd name="T19" fmla="*/ 0 h 171"/>
                    <a:gd name="T20" fmla="*/ 138 w 174"/>
                    <a:gd name="T21" fmla="*/ 14 h 171"/>
                    <a:gd name="T22" fmla="*/ 113 w 174"/>
                    <a:gd name="T23" fmla="*/ 46 h 171"/>
                    <a:gd name="T24" fmla="*/ 136 w 174"/>
                    <a:gd name="T25" fmla="*/ 70 h 171"/>
                    <a:gd name="T26" fmla="*/ 142 w 174"/>
                    <a:gd name="T27" fmla="*/ 54 h 171"/>
                    <a:gd name="T28" fmla="*/ 152 w 174"/>
                    <a:gd name="T29" fmla="*/ 52 h 171"/>
                    <a:gd name="T30" fmla="*/ 148 w 174"/>
                    <a:gd name="T31" fmla="*/ 79 h 171"/>
                    <a:gd name="T32" fmla="*/ 174 w 174"/>
                    <a:gd name="T33" fmla="*/ 103 h 171"/>
                    <a:gd name="T34" fmla="*/ 162 w 174"/>
                    <a:gd name="T35" fmla="*/ 114 h 171"/>
                    <a:gd name="T36" fmla="*/ 162 w 174"/>
                    <a:gd name="T37" fmla="*/ 126 h 171"/>
                    <a:gd name="T38" fmla="*/ 166 w 174"/>
                    <a:gd name="T39" fmla="*/ 128 h 171"/>
                    <a:gd name="T40" fmla="*/ 157 w 174"/>
                    <a:gd name="T41" fmla="*/ 155 h 171"/>
                    <a:gd name="T42" fmla="*/ 121 w 174"/>
                    <a:gd name="T43" fmla="*/ 155 h 171"/>
                    <a:gd name="T44" fmla="*/ 97 w 174"/>
                    <a:gd name="T45" fmla="*/ 171 h 171"/>
                    <a:gd name="T46" fmla="*/ 80 w 174"/>
                    <a:gd name="T47" fmla="*/ 156 h 171"/>
                    <a:gd name="T48" fmla="*/ 72 w 174"/>
                    <a:gd name="T49" fmla="*/ 139 h 171"/>
                    <a:gd name="T50" fmla="*/ 56 w 174"/>
                    <a:gd name="T51" fmla="*/ 151 h 171"/>
                    <a:gd name="T52" fmla="*/ 26 w 174"/>
                    <a:gd name="T53" fmla="*/ 136 h 171"/>
                    <a:gd name="T54" fmla="*/ 26 w 174"/>
                    <a:gd name="T55" fmla="*/ 118 h 171"/>
                    <a:gd name="T56" fmla="*/ 9 w 174"/>
                    <a:gd name="T57" fmla="*/ 114 h 171"/>
                    <a:gd name="T58" fmla="*/ 0 w 174"/>
                    <a:gd name="T59" fmla="*/ 100 h 1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174" h="171">
                      <a:moveTo>
                        <a:pt x="0" y="100"/>
                      </a:moveTo>
                      <a:lnTo>
                        <a:pt x="0" y="100"/>
                      </a:lnTo>
                      <a:lnTo>
                        <a:pt x="14" y="78"/>
                      </a:lnTo>
                      <a:lnTo>
                        <a:pt x="8" y="71"/>
                      </a:lnTo>
                      <a:lnTo>
                        <a:pt x="10" y="58"/>
                      </a:lnTo>
                      <a:lnTo>
                        <a:pt x="38" y="50"/>
                      </a:lnTo>
                      <a:lnTo>
                        <a:pt x="73" y="30"/>
                      </a:lnTo>
                      <a:lnTo>
                        <a:pt x="85" y="8"/>
                      </a:lnTo>
                      <a:lnTo>
                        <a:pt x="97" y="6"/>
                      </a:lnTo>
                      <a:lnTo>
                        <a:pt x="97" y="0"/>
                      </a:lnTo>
                      <a:lnTo>
                        <a:pt x="138" y="14"/>
                      </a:lnTo>
                      <a:lnTo>
                        <a:pt x="113" y="46"/>
                      </a:lnTo>
                      <a:lnTo>
                        <a:pt x="136" y="70"/>
                      </a:lnTo>
                      <a:lnTo>
                        <a:pt x="142" y="54"/>
                      </a:lnTo>
                      <a:lnTo>
                        <a:pt x="152" y="52"/>
                      </a:lnTo>
                      <a:lnTo>
                        <a:pt x="148" y="79"/>
                      </a:lnTo>
                      <a:lnTo>
                        <a:pt x="174" y="103"/>
                      </a:lnTo>
                      <a:lnTo>
                        <a:pt x="162" y="114"/>
                      </a:lnTo>
                      <a:lnTo>
                        <a:pt x="162" y="126"/>
                      </a:lnTo>
                      <a:lnTo>
                        <a:pt x="166" y="128"/>
                      </a:lnTo>
                      <a:lnTo>
                        <a:pt x="157" y="155"/>
                      </a:lnTo>
                      <a:lnTo>
                        <a:pt x="121" y="155"/>
                      </a:lnTo>
                      <a:lnTo>
                        <a:pt x="97" y="171"/>
                      </a:lnTo>
                      <a:lnTo>
                        <a:pt x="80" y="156"/>
                      </a:lnTo>
                      <a:lnTo>
                        <a:pt x="72" y="139"/>
                      </a:lnTo>
                      <a:lnTo>
                        <a:pt x="56" y="151"/>
                      </a:lnTo>
                      <a:lnTo>
                        <a:pt x="26" y="136"/>
                      </a:lnTo>
                      <a:lnTo>
                        <a:pt x="26" y="118"/>
                      </a:lnTo>
                      <a:lnTo>
                        <a:pt x="9" y="114"/>
                      </a:lnTo>
                      <a:lnTo>
                        <a:pt x="0" y="100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" name="Freeform 20"/>
                <p:cNvSpPr>
                  <a:spLocks/>
                </p:cNvSpPr>
                <p:nvPr/>
              </p:nvSpPr>
              <p:spPr bwMode="gray">
                <a:xfrm>
                  <a:off x="4059238" y="4554538"/>
                  <a:ext cx="279400" cy="409575"/>
                </a:xfrm>
                <a:custGeom>
                  <a:avLst/>
                  <a:gdLst>
                    <a:gd name="T0" fmla="*/ 176 w 176"/>
                    <a:gd name="T1" fmla="*/ 100 h 258"/>
                    <a:gd name="T2" fmla="*/ 176 w 176"/>
                    <a:gd name="T3" fmla="*/ 108 h 258"/>
                    <a:gd name="T4" fmla="*/ 167 w 176"/>
                    <a:gd name="T5" fmla="*/ 127 h 258"/>
                    <a:gd name="T6" fmla="*/ 175 w 176"/>
                    <a:gd name="T7" fmla="*/ 142 h 258"/>
                    <a:gd name="T8" fmla="*/ 135 w 176"/>
                    <a:gd name="T9" fmla="*/ 160 h 258"/>
                    <a:gd name="T10" fmla="*/ 131 w 176"/>
                    <a:gd name="T11" fmla="*/ 186 h 258"/>
                    <a:gd name="T12" fmla="*/ 146 w 176"/>
                    <a:gd name="T13" fmla="*/ 212 h 258"/>
                    <a:gd name="T14" fmla="*/ 135 w 176"/>
                    <a:gd name="T15" fmla="*/ 219 h 258"/>
                    <a:gd name="T16" fmla="*/ 135 w 176"/>
                    <a:gd name="T17" fmla="*/ 234 h 258"/>
                    <a:gd name="T18" fmla="*/ 84 w 176"/>
                    <a:gd name="T19" fmla="*/ 258 h 258"/>
                    <a:gd name="T20" fmla="*/ 70 w 176"/>
                    <a:gd name="T21" fmla="*/ 251 h 258"/>
                    <a:gd name="T22" fmla="*/ 67 w 176"/>
                    <a:gd name="T23" fmla="*/ 235 h 258"/>
                    <a:gd name="T24" fmla="*/ 83 w 176"/>
                    <a:gd name="T25" fmla="*/ 232 h 258"/>
                    <a:gd name="T26" fmla="*/ 34 w 176"/>
                    <a:gd name="T27" fmla="*/ 200 h 258"/>
                    <a:gd name="T28" fmla="*/ 0 w 176"/>
                    <a:gd name="T29" fmla="*/ 203 h 258"/>
                    <a:gd name="T30" fmla="*/ 19 w 176"/>
                    <a:gd name="T31" fmla="*/ 179 h 258"/>
                    <a:gd name="T32" fmla="*/ 15 w 176"/>
                    <a:gd name="T33" fmla="*/ 150 h 258"/>
                    <a:gd name="T34" fmla="*/ 10 w 176"/>
                    <a:gd name="T35" fmla="*/ 147 h 258"/>
                    <a:gd name="T36" fmla="*/ 14 w 176"/>
                    <a:gd name="T37" fmla="*/ 123 h 258"/>
                    <a:gd name="T38" fmla="*/ 34 w 176"/>
                    <a:gd name="T39" fmla="*/ 115 h 258"/>
                    <a:gd name="T40" fmla="*/ 35 w 176"/>
                    <a:gd name="T41" fmla="*/ 98 h 258"/>
                    <a:gd name="T42" fmla="*/ 54 w 176"/>
                    <a:gd name="T43" fmla="*/ 88 h 258"/>
                    <a:gd name="T44" fmla="*/ 54 w 176"/>
                    <a:gd name="T45" fmla="*/ 68 h 258"/>
                    <a:gd name="T46" fmla="*/ 40 w 176"/>
                    <a:gd name="T47" fmla="*/ 52 h 258"/>
                    <a:gd name="T48" fmla="*/ 40 w 176"/>
                    <a:gd name="T49" fmla="*/ 20 h 258"/>
                    <a:gd name="T50" fmla="*/ 60 w 176"/>
                    <a:gd name="T51" fmla="*/ 0 h 258"/>
                    <a:gd name="T52" fmla="*/ 70 w 176"/>
                    <a:gd name="T53" fmla="*/ 11 h 258"/>
                    <a:gd name="T54" fmla="*/ 67 w 176"/>
                    <a:gd name="T55" fmla="*/ 31 h 258"/>
                    <a:gd name="T56" fmla="*/ 103 w 176"/>
                    <a:gd name="T57" fmla="*/ 44 h 258"/>
                    <a:gd name="T58" fmla="*/ 116 w 176"/>
                    <a:gd name="T59" fmla="*/ 32 h 258"/>
                    <a:gd name="T60" fmla="*/ 134 w 176"/>
                    <a:gd name="T61" fmla="*/ 43 h 258"/>
                    <a:gd name="T62" fmla="*/ 160 w 176"/>
                    <a:gd name="T63" fmla="*/ 22 h 258"/>
                    <a:gd name="T64" fmla="*/ 162 w 176"/>
                    <a:gd name="T65" fmla="*/ 24 h 258"/>
                    <a:gd name="T66" fmla="*/ 171 w 176"/>
                    <a:gd name="T67" fmla="*/ 70 h 258"/>
                    <a:gd name="T68" fmla="*/ 176 w 176"/>
                    <a:gd name="T69" fmla="*/ 100 h 2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76" h="258">
                      <a:moveTo>
                        <a:pt x="176" y="100"/>
                      </a:moveTo>
                      <a:lnTo>
                        <a:pt x="176" y="108"/>
                      </a:lnTo>
                      <a:lnTo>
                        <a:pt x="167" y="127"/>
                      </a:lnTo>
                      <a:lnTo>
                        <a:pt x="175" y="142"/>
                      </a:lnTo>
                      <a:lnTo>
                        <a:pt x="135" y="160"/>
                      </a:lnTo>
                      <a:lnTo>
                        <a:pt x="131" y="186"/>
                      </a:lnTo>
                      <a:lnTo>
                        <a:pt x="146" y="212"/>
                      </a:lnTo>
                      <a:lnTo>
                        <a:pt x="135" y="219"/>
                      </a:lnTo>
                      <a:lnTo>
                        <a:pt x="135" y="234"/>
                      </a:lnTo>
                      <a:lnTo>
                        <a:pt x="84" y="258"/>
                      </a:lnTo>
                      <a:lnTo>
                        <a:pt x="70" y="251"/>
                      </a:lnTo>
                      <a:lnTo>
                        <a:pt x="67" y="235"/>
                      </a:lnTo>
                      <a:lnTo>
                        <a:pt x="83" y="232"/>
                      </a:lnTo>
                      <a:lnTo>
                        <a:pt x="34" y="200"/>
                      </a:lnTo>
                      <a:lnTo>
                        <a:pt x="0" y="203"/>
                      </a:lnTo>
                      <a:lnTo>
                        <a:pt x="19" y="179"/>
                      </a:lnTo>
                      <a:lnTo>
                        <a:pt x="15" y="150"/>
                      </a:lnTo>
                      <a:lnTo>
                        <a:pt x="10" y="147"/>
                      </a:lnTo>
                      <a:lnTo>
                        <a:pt x="14" y="123"/>
                      </a:lnTo>
                      <a:lnTo>
                        <a:pt x="34" y="115"/>
                      </a:lnTo>
                      <a:lnTo>
                        <a:pt x="35" y="98"/>
                      </a:lnTo>
                      <a:lnTo>
                        <a:pt x="54" y="88"/>
                      </a:lnTo>
                      <a:lnTo>
                        <a:pt x="54" y="68"/>
                      </a:lnTo>
                      <a:lnTo>
                        <a:pt x="40" y="52"/>
                      </a:lnTo>
                      <a:lnTo>
                        <a:pt x="40" y="20"/>
                      </a:lnTo>
                      <a:lnTo>
                        <a:pt x="60" y="0"/>
                      </a:lnTo>
                      <a:lnTo>
                        <a:pt x="70" y="11"/>
                      </a:lnTo>
                      <a:lnTo>
                        <a:pt x="67" y="31"/>
                      </a:lnTo>
                      <a:lnTo>
                        <a:pt x="103" y="44"/>
                      </a:lnTo>
                      <a:lnTo>
                        <a:pt x="116" y="32"/>
                      </a:lnTo>
                      <a:lnTo>
                        <a:pt x="134" y="43"/>
                      </a:lnTo>
                      <a:lnTo>
                        <a:pt x="160" y="22"/>
                      </a:lnTo>
                      <a:lnTo>
                        <a:pt x="162" y="24"/>
                      </a:lnTo>
                      <a:lnTo>
                        <a:pt x="171" y="70"/>
                      </a:lnTo>
                      <a:lnTo>
                        <a:pt x="176" y="100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" name="Freeform 21"/>
                <p:cNvSpPr>
                  <a:spLocks/>
                </p:cNvSpPr>
                <p:nvPr/>
              </p:nvSpPr>
              <p:spPr bwMode="gray">
                <a:xfrm>
                  <a:off x="3390900" y="3683000"/>
                  <a:ext cx="823912" cy="501650"/>
                </a:xfrm>
                <a:custGeom>
                  <a:avLst/>
                  <a:gdLst>
                    <a:gd name="T0" fmla="*/ 512 w 519"/>
                    <a:gd name="T1" fmla="*/ 52 h 316"/>
                    <a:gd name="T2" fmla="*/ 511 w 519"/>
                    <a:gd name="T3" fmla="*/ 73 h 316"/>
                    <a:gd name="T4" fmla="*/ 519 w 519"/>
                    <a:gd name="T5" fmla="*/ 91 h 316"/>
                    <a:gd name="T6" fmla="*/ 476 w 519"/>
                    <a:gd name="T7" fmla="*/ 121 h 316"/>
                    <a:gd name="T8" fmla="*/ 447 w 519"/>
                    <a:gd name="T9" fmla="*/ 127 h 316"/>
                    <a:gd name="T10" fmla="*/ 413 w 519"/>
                    <a:gd name="T11" fmla="*/ 152 h 316"/>
                    <a:gd name="T12" fmla="*/ 401 w 519"/>
                    <a:gd name="T13" fmla="*/ 157 h 316"/>
                    <a:gd name="T14" fmla="*/ 388 w 519"/>
                    <a:gd name="T15" fmla="*/ 157 h 316"/>
                    <a:gd name="T16" fmla="*/ 377 w 519"/>
                    <a:gd name="T17" fmla="*/ 173 h 316"/>
                    <a:gd name="T18" fmla="*/ 367 w 519"/>
                    <a:gd name="T19" fmla="*/ 173 h 316"/>
                    <a:gd name="T20" fmla="*/ 347 w 519"/>
                    <a:gd name="T21" fmla="*/ 169 h 316"/>
                    <a:gd name="T22" fmla="*/ 331 w 519"/>
                    <a:gd name="T23" fmla="*/ 183 h 316"/>
                    <a:gd name="T24" fmla="*/ 327 w 519"/>
                    <a:gd name="T25" fmla="*/ 209 h 316"/>
                    <a:gd name="T26" fmla="*/ 305 w 519"/>
                    <a:gd name="T27" fmla="*/ 227 h 316"/>
                    <a:gd name="T28" fmla="*/ 285 w 519"/>
                    <a:gd name="T29" fmla="*/ 293 h 316"/>
                    <a:gd name="T30" fmla="*/ 283 w 519"/>
                    <a:gd name="T31" fmla="*/ 297 h 316"/>
                    <a:gd name="T32" fmla="*/ 260 w 519"/>
                    <a:gd name="T33" fmla="*/ 316 h 316"/>
                    <a:gd name="T34" fmla="*/ 213 w 519"/>
                    <a:gd name="T35" fmla="*/ 289 h 316"/>
                    <a:gd name="T36" fmla="*/ 163 w 519"/>
                    <a:gd name="T37" fmla="*/ 293 h 316"/>
                    <a:gd name="T38" fmla="*/ 129 w 519"/>
                    <a:gd name="T39" fmla="*/ 280 h 316"/>
                    <a:gd name="T40" fmla="*/ 123 w 519"/>
                    <a:gd name="T41" fmla="*/ 263 h 316"/>
                    <a:gd name="T42" fmla="*/ 89 w 519"/>
                    <a:gd name="T43" fmla="*/ 264 h 316"/>
                    <a:gd name="T44" fmla="*/ 92 w 519"/>
                    <a:gd name="T45" fmla="*/ 289 h 316"/>
                    <a:gd name="T46" fmla="*/ 67 w 519"/>
                    <a:gd name="T47" fmla="*/ 293 h 316"/>
                    <a:gd name="T48" fmla="*/ 60 w 519"/>
                    <a:gd name="T49" fmla="*/ 287 h 316"/>
                    <a:gd name="T50" fmla="*/ 29 w 519"/>
                    <a:gd name="T51" fmla="*/ 285 h 316"/>
                    <a:gd name="T52" fmla="*/ 17 w 519"/>
                    <a:gd name="T53" fmla="*/ 299 h 316"/>
                    <a:gd name="T54" fmla="*/ 3 w 519"/>
                    <a:gd name="T55" fmla="*/ 297 h 316"/>
                    <a:gd name="T56" fmla="*/ 0 w 519"/>
                    <a:gd name="T57" fmla="*/ 256 h 316"/>
                    <a:gd name="T58" fmla="*/ 23 w 519"/>
                    <a:gd name="T59" fmla="*/ 223 h 316"/>
                    <a:gd name="T60" fmla="*/ 36 w 519"/>
                    <a:gd name="T61" fmla="*/ 209 h 316"/>
                    <a:gd name="T62" fmla="*/ 64 w 519"/>
                    <a:gd name="T63" fmla="*/ 211 h 316"/>
                    <a:gd name="T64" fmla="*/ 60 w 519"/>
                    <a:gd name="T65" fmla="*/ 183 h 316"/>
                    <a:gd name="T66" fmla="*/ 105 w 519"/>
                    <a:gd name="T67" fmla="*/ 156 h 316"/>
                    <a:gd name="T68" fmla="*/ 79 w 519"/>
                    <a:gd name="T69" fmla="*/ 141 h 316"/>
                    <a:gd name="T70" fmla="*/ 61 w 519"/>
                    <a:gd name="T71" fmla="*/ 155 h 316"/>
                    <a:gd name="T72" fmla="*/ 47 w 519"/>
                    <a:gd name="T73" fmla="*/ 136 h 316"/>
                    <a:gd name="T74" fmla="*/ 63 w 519"/>
                    <a:gd name="T75" fmla="*/ 121 h 316"/>
                    <a:gd name="T76" fmla="*/ 80 w 519"/>
                    <a:gd name="T77" fmla="*/ 79 h 316"/>
                    <a:gd name="T78" fmla="*/ 63 w 519"/>
                    <a:gd name="T79" fmla="*/ 53 h 316"/>
                    <a:gd name="T80" fmla="*/ 71 w 519"/>
                    <a:gd name="T81" fmla="*/ 44 h 316"/>
                    <a:gd name="T82" fmla="*/ 103 w 519"/>
                    <a:gd name="T83" fmla="*/ 59 h 316"/>
                    <a:gd name="T84" fmla="*/ 123 w 519"/>
                    <a:gd name="T85" fmla="*/ 84 h 316"/>
                    <a:gd name="T86" fmla="*/ 145 w 519"/>
                    <a:gd name="T87" fmla="*/ 79 h 316"/>
                    <a:gd name="T88" fmla="*/ 160 w 519"/>
                    <a:gd name="T89" fmla="*/ 91 h 316"/>
                    <a:gd name="T90" fmla="*/ 172 w 519"/>
                    <a:gd name="T91" fmla="*/ 80 h 316"/>
                    <a:gd name="T92" fmla="*/ 168 w 519"/>
                    <a:gd name="T93" fmla="*/ 49 h 316"/>
                    <a:gd name="T94" fmla="*/ 160 w 519"/>
                    <a:gd name="T95" fmla="*/ 35 h 316"/>
                    <a:gd name="T96" fmla="*/ 180 w 519"/>
                    <a:gd name="T97" fmla="*/ 12 h 316"/>
                    <a:gd name="T98" fmla="*/ 240 w 519"/>
                    <a:gd name="T99" fmla="*/ 9 h 316"/>
                    <a:gd name="T100" fmla="*/ 248 w 519"/>
                    <a:gd name="T101" fmla="*/ 0 h 316"/>
                    <a:gd name="T102" fmla="*/ 265 w 519"/>
                    <a:gd name="T103" fmla="*/ 8 h 316"/>
                    <a:gd name="T104" fmla="*/ 337 w 519"/>
                    <a:gd name="T105" fmla="*/ 49 h 316"/>
                    <a:gd name="T106" fmla="*/ 408 w 519"/>
                    <a:gd name="T107" fmla="*/ 81 h 316"/>
                    <a:gd name="T108" fmla="*/ 441 w 519"/>
                    <a:gd name="T109" fmla="*/ 80 h 316"/>
                    <a:gd name="T110" fmla="*/ 455 w 519"/>
                    <a:gd name="T111" fmla="*/ 68 h 316"/>
                    <a:gd name="T112" fmla="*/ 477 w 519"/>
                    <a:gd name="T113" fmla="*/ 67 h 316"/>
                    <a:gd name="T114" fmla="*/ 487 w 519"/>
                    <a:gd name="T115" fmla="*/ 55 h 316"/>
                    <a:gd name="T116" fmla="*/ 512 w 519"/>
                    <a:gd name="T117" fmla="*/ 52 h 3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519" h="316">
                      <a:moveTo>
                        <a:pt x="512" y="52"/>
                      </a:moveTo>
                      <a:lnTo>
                        <a:pt x="511" y="73"/>
                      </a:lnTo>
                      <a:lnTo>
                        <a:pt x="519" y="91"/>
                      </a:lnTo>
                      <a:lnTo>
                        <a:pt x="476" y="121"/>
                      </a:lnTo>
                      <a:lnTo>
                        <a:pt x="447" y="127"/>
                      </a:lnTo>
                      <a:lnTo>
                        <a:pt x="413" y="152"/>
                      </a:lnTo>
                      <a:lnTo>
                        <a:pt x="401" y="157"/>
                      </a:lnTo>
                      <a:lnTo>
                        <a:pt x="388" y="157"/>
                      </a:lnTo>
                      <a:lnTo>
                        <a:pt x="377" y="173"/>
                      </a:lnTo>
                      <a:lnTo>
                        <a:pt x="367" y="173"/>
                      </a:lnTo>
                      <a:lnTo>
                        <a:pt x="347" y="169"/>
                      </a:lnTo>
                      <a:lnTo>
                        <a:pt x="331" y="183"/>
                      </a:lnTo>
                      <a:lnTo>
                        <a:pt x="327" y="209"/>
                      </a:lnTo>
                      <a:lnTo>
                        <a:pt x="305" y="227"/>
                      </a:lnTo>
                      <a:lnTo>
                        <a:pt x="285" y="293"/>
                      </a:lnTo>
                      <a:lnTo>
                        <a:pt x="283" y="297"/>
                      </a:lnTo>
                      <a:lnTo>
                        <a:pt x="260" y="316"/>
                      </a:lnTo>
                      <a:lnTo>
                        <a:pt x="213" y="289"/>
                      </a:lnTo>
                      <a:lnTo>
                        <a:pt x="163" y="293"/>
                      </a:lnTo>
                      <a:lnTo>
                        <a:pt x="129" y="280"/>
                      </a:lnTo>
                      <a:lnTo>
                        <a:pt x="123" y="263"/>
                      </a:lnTo>
                      <a:lnTo>
                        <a:pt x="89" y="264"/>
                      </a:lnTo>
                      <a:lnTo>
                        <a:pt x="92" y="289"/>
                      </a:lnTo>
                      <a:lnTo>
                        <a:pt x="67" y="293"/>
                      </a:lnTo>
                      <a:lnTo>
                        <a:pt x="60" y="287"/>
                      </a:lnTo>
                      <a:lnTo>
                        <a:pt x="29" y="285"/>
                      </a:lnTo>
                      <a:lnTo>
                        <a:pt x="17" y="299"/>
                      </a:lnTo>
                      <a:lnTo>
                        <a:pt x="3" y="297"/>
                      </a:lnTo>
                      <a:lnTo>
                        <a:pt x="0" y="256"/>
                      </a:lnTo>
                      <a:lnTo>
                        <a:pt x="23" y="223"/>
                      </a:lnTo>
                      <a:lnTo>
                        <a:pt x="36" y="209"/>
                      </a:lnTo>
                      <a:lnTo>
                        <a:pt x="64" y="211"/>
                      </a:lnTo>
                      <a:lnTo>
                        <a:pt x="60" y="183"/>
                      </a:lnTo>
                      <a:lnTo>
                        <a:pt x="105" y="156"/>
                      </a:lnTo>
                      <a:lnTo>
                        <a:pt x="79" y="141"/>
                      </a:lnTo>
                      <a:lnTo>
                        <a:pt x="61" y="155"/>
                      </a:lnTo>
                      <a:lnTo>
                        <a:pt x="47" y="136"/>
                      </a:lnTo>
                      <a:lnTo>
                        <a:pt x="63" y="121"/>
                      </a:lnTo>
                      <a:lnTo>
                        <a:pt x="80" y="79"/>
                      </a:lnTo>
                      <a:lnTo>
                        <a:pt x="63" y="53"/>
                      </a:lnTo>
                      <a:lnTo>
                        <a:pt x="71" y="44"/>
                      </a:lnTo>
                      <a:lnTo>
                        <a:pt x="103" y="59"/>
                      </a:lnTo>
                      <a:lnTo>
                        <a:pt x="123" y="84"/>
                      </a:lnTo>
                      <a:lnTo>
                        <a:pt x="145" y="79"/>
                      </a:lnTo>
                      <a:lnTo>
                        <a:pt x="160" y="91"/>
                      </a:lnTo>
                      <a:lnTo>
                        <a:pt x="172" y="80"/>
                      </a:lnTo>
                      <a:lnTo>
                        <a:pt x="168" y="49"/>
                      </a:lnTo>
                      <a:lnTo>
                        <a:pt x="160" y="35"/>
                      </a:lnTo>
                      <a:lnTo>
                        <a:pt x="180" y="12"/>
                      </a:lnTo>
                      <a:lnTo>
                        <a:pt x="240" y="9"/>
                      </a:lnTo>
                      <a:lnTo>
                        <a:pt x="248" y="0"/>
                      </a:lnTo>
                      <a:lnTo>
                        <a:pt x="265" y="8"/>
                      </a:lnTo>
                      <a:lnTo>
                        <a:pt x="337" y="49"/>
                      </a:lnTo>
                      <a:lnTo>
                        <a:pt x="408" y="81"/>
                      </a:lnTo>
                      <a:lnTo>
                        <a:pt x="441" y="80"/>
                      </a:lnTo>
                      <a:lnTo>
                        <a:pt x="455" y="68"/>
                      </a:lnTo>
                      <a:lnTo>
                        <a:pt x="477" y="67"/>
                      </a:lnTo>
                      <a:lnTo>
                        <a:pt x="487" y="55"/>
                      </a:lnTo>
                      <a:lnTo>
                        <a:pt x="512" y="52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" name="Freeform 22"/>
                <p:cNvSpPr>
                  <a:spLocks/>
                </p:cNvSpPr>
                <p:nvPr/>
              </p:nvSpPr>
              <p:spPr bwMode="gray">
                <a:xfrm>
                  <a:off x="3136900" y="3416300"/>
                  <a:ext cx="1085850" cy="620713"/>
                </a:xfrm>
                <a:custGeom>
                  <a:avLst/>
                  <a:gdLst>
                    <a:gd name="T0" fmla="*/ 400 w 684"/>
                    <a:gd name="T1" fmla="*/ 177 h 391"/>
                    <a:gd name="T2" fmla="*/ 425 w 684"/>
                    <a:gd name="T3" fmla="*/ 176 h 391"/>
                    <a:gd name="T4" fmla="*/ 568 w 684"/>
                    <a:gd name="T5" fmla="*/ 249 h 391"/>
                    <a:gd name="T6" fmla="*/ 615 w 684"/>
                    <a:gd name="T7" fmla="*/ 236 h 391"/>
                    <a:gd name="T8" fmla="*/ 647 w 684"/>
                    <a:gd name="T9" fmla="*/ 223 h 391"/>
                    <a:gd name="T10" fmla="*/ 676 w 684"/>
                    <a:gd name="T11" fmla="*/ 219 h 391"/>
                    <a:gd name="T12" fmla="*/ 671 w 684"/>
                    <a:gd name="T13" fmla="*/ 195 h 391"/>
                    <a:gd name="T14" fmla="*/ 683 w 684"/>
                    <a:gd name="T15" fmla="*/ 181 h 391"/>
                    <a:gd name="T16" fmla="*/ 641 w 684"/>
                    <a:gd name="T17" fmla="*/ 124 h 391"/>
                    <a:gd name="T18" fmla="*/ 620 w 684"/>
                    <a:gd name="T19" fmla="*/ 89 h 391"/>
                    <a:gd name="T20" fmla="*/ 593 w 684"/>
                    <a:gd name="T21" fmla="*/ 92 h 391"/>
                    <a:gd name="T22" fmla="*/ 608 w 684"/>
                    <a:gd name="T23" fmla="*/ 160 h 391"/>
                    <a:gd name="T24" fmla="*/ 579 w 684"/>
                    <a:gd name="T25" fmla="*/ 189 h 391"/>
                    <a:gd name="T26" fmla="*/ 576 w 684"/>
                    <a:gd name="T27" fmla="*/ 164 h 391"/>
                    <a:gd name="T28" fmla="*/ 535 w 684"/>
                    <a:gd name="T29" fmla="*/ 148 h 391"/>
                    <a:gd name="T30" fmla="*/ 481 w 684"/>
                    <a:gd name="T31" fmla="*/ 145 h 391"/>
                    <a:gd name="T32" fmla="*/ 499 w 684"/>
                    <a:gd name="T33" fmla="*/ 123 h 391"/>
                    <a:gd name="T34" fmla="*/ 467 w 684"/>
                    <a:gd name="T35" fmla="*/ 101 h 391"/>
                    <a:gd name="T36" fmla="*/ 443 w 684"/>
                    <a:gd name="T37" fmla="*/ 104 h 391"/>
                    <a:gd name="T38" fmla="*/ 377 w 684"/>
                    <a:gd name="T39" fmla="*/ 111 h 391"/>
                    <a:gd name="T40" fmla="*/ 340 w 684"/>
                    <a:gd name="T41" fmla="*/ 123 h 391"/>
                    <a:gd name="T42" fmla="*/ 325 w 684"/>
                    <a:gd name="T43" fmla="*/ 75 h 391"/>
                    <a:gd name="T44" fmla="*/ 357 w 684"/>
                    <a:gd name="T45" fmla="*/ 40 h 391"/>
                    <a:gd name="T46" fmla="*/ 325 w 684"/>
                    <a:gd name="T47" fmla="*/ 41 h 391"/>
                    <a:gd name="T48" fmla="*/ 283 w 684"/>
                    <a:gd name="T49" fmla="*/ 99 h 391"/>
                    <a:gd name="T50" fmla="*/ 265 w 684"/>
                    <a:gd name="T51" fmla="*/ 111 h 391"/>
                    <a:gd name="T52" fmla="*/ 192 w 684"/>
                    <a:gd name="T53" fmla="*/ 77 h 391"/>
                    <a:gd name="T54" fmla="*/ 153 w 684"/>
                    <a:gd name="T55" fmla="*/ 123 h 391"/>
                    <a:gd name="T56" fmla="*/ 109 w 684"/>
                    <a:gd name="T57" fmla="*/ 57 h 391"/>
                    <a:gd name="T58" fmla="*/ 97 w 684"/>
                    <a:gd name="T59" fmla="*/ 111 h 391"/>
                    <a:gd name="T60" fmla="*/ 50 w 684"/>
                    <a:gd name="T61" fmla="*/ 105 h 391"/>
                    <a:gd name="T62" fmla="*/ 44 w 684"/>
                    <a:gd name="T63" fmla="*/ 153 h 391"/>
                    <a:gd name="T64" fmla="*/ 12 w 684"/>
                    <a:gd name="T65" fmla="*/ 203 h 391"/>
                    <a:gd name="T66" fmla="*/ 4 w 684"/>
                    <a:gd name="T67" fmla="*/ 248 h 391"/>
                    <a:gd name="T68" fmla="*/ 70 w 684"/>
                    <a:gd name="T69" fmla="*/ 289 h 391"/>
                    <a:gd name="T70" fmla="*/ 101 w 684"/>
                    <a:gd name="T71" fmla="*/ 313 h 391"/>
                    <a:gd name="T72" fmla="*/ 153 w 684"/>
                    <a:gd name="T73" fmla="*/ 357 h 391"/>
                    <a:gd name="T74" fmla="*/ 183 w 684"/>
                    <a:gd name="T75" fmla="*/ 391 h 391"/>
                    <a:gd name="T76" fmla="*/ 224 w 684"/>
                    <a:gd name="T77" fmla="*/ 379 h 391"/>
                    <a:gd name="T78" fmla="*/ 265 w 684"/>
                    <a:gd name="T79" fmla="*/ 324 h 391"/>
                    <a:gd name="T80" fmla="*/ 221 w 684"/>
                    <a:gd name="T81" fmla="*/ 323 h 391"/>
                    <a:gd name="T82" fmla="*/ 223 w 684"/>
                    <a:gd name="T83" fmla="*/ 289 h 391"/>
                    <a:gd name="T84" fmla="*/ 223 w 684"/>
                    <a:gd name="T85" fmla="*/ 221 h 391"/>
                    <a:gd name="T86" fmla="*/ 263 w 684"/>
                    <a:gd name="T87" fmla="*/ 227 h 391"/>
                    <a:gd name="T88" fmla="*/ 305 w 684"/>
                    <a:gd name="T89" fmla="*/ 247 h 391"/>
                    <a:gd name="T90" fmla="*/ 332 w 684"/>
                    <a:gd name="T91" fmla="*/ 248 h 391"/>
                    <a:gd name="T92" fmla="*/ 320 w 684"/>
                    <a:gd name="T93" fmla="*/ 203 h 3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684" h="391">
                      <a:moveTo>
                        <a:pt x="340" y="180"/>
                      </a:moveTo>
                      <a:lnTo>
                        <a:pt x="400" y="177"/>
                      </a:lnTo>
                      <a:lnTo>
                        <a:pt x="408" y="168"/>
                      </a:lnTo>
                      <a:lnTo>
                        <a:pt x="425" y="176"/>
                      </a:lnTo>
                      <a:lnTo>
                        <a:pt x="497" y="217"/>
                      </a:lnTo>
                      <a:lnTo>
                        <a:pt x="568" y="249"/>
                      </a:lnTo>
                      <a:lnTo>
                        <a:pt x="601" y="248"/>
                      </a:lnTo>
                      <a:lnTo>
                        <a:pt x="615" y="236"/>
                      </a:lnTo>
                      <a:lnTo>
                        <a:pt x="637" y="235"/>
                      </a:lnTo>
                      <a:lnTo>
                        <a:pt x="647" y="223"/>
                      </a:lnTo>
                      <a:lnTo>
                        <a:pt x="672" y="220"/>
                      </a:lnTo>
                      <a:lnTo>
                        <a:pt x="676" y="219"/>
                      </a:lnTo>
                      <a:lnTo>
                        <a:pt x="684" y="205"/>
                      </a:lnTo>
                      <a:lnTo>
                        <a:pt x="671" y="195"/>
                      </a:lnTo>
                      <a:lnTo>
                        <a:pt x="684" y="183"/>
                      </a:lnTo>
                      <a:lnTo>
                        <a:pt x="683" y="181"/>
                      </a:lnTo>
                      <a:lnTo>
                        <a:pt x="683" y="157"/>
                      </a:lnTo>
                      <a:lnTo>
                        <a:pt x="641" y="124"/>
                      </a:lnTo>
                      <a:lnTo>
                        <a:pt x="617" y="124"/>
                      </a:lnTo>
                      <a:lnTo>
                        <a:pt x="620" y="89"/>
                      </a:lnTo>
                      <a:lnTo>
                        <a:pt x="596" y="69"/>
                      </a:lnTo>
                      <a:lnTo>
                        <a:pt x="593" y="92"/>
                      </a:lnTo>
                      <a:lnTo>
                        <a:pt x="608" y="128"/>
                      </a:lnTo>
                      <a:lnTo>
                        <a:pt x="608" y="160"/>
                      </a:lnTo>
                      <a:lnTo>
                        <a:pt x="588" y="169"/>
                      </a:lnTo>
                      <a:lnTo>
                        <a:pt x="579" y="189"/>
                      </a:lnTo>
                      <a:lnTo>
                        <a:pt x="561" y="177"/>
                      </a:lnTo>
                      <a:lnTo>
                        <a:pt x="576" y="164"/>
                      </a:lnTo>
                      <a:lnTo>
                        <a:pt x="569" y="143"/>
                      </a:lnTo>
                      <a:lnTo>
                        <a:pt x="535" y="148"/>
                      </a:lnTo>
                      <a:lnTo>
                        <a:pt x="508" y="135"/>
                      </a:lnTo>
                      <a:lnTo>
                        <a:pt x="481" y="145"/>
                      </a:lnTo>
                      <a:lnTo>
                        <a:pt x="464" y="131"/>
                      </a:lnTo>
                      <a:lnTo>
                        <a:pt x="499" y="123"/>
                      </a:lnTo>
                      <a:lnTo>
                        <a:pt x="501" y="104"/>
                      </a:lnTo>
                      <a:lnTo>
                        <a:pt x="467" y="101"/>
                      </a:lnTo>
                      <a:lnTo>
                        <a:pt x="455" y="116"/>
                      </a:lnTo>
                      <a:lnTo>
                        <a:pt x="443" y="104"/>
                      </a:lnTo>
                      <a:lnTo>
                        <a:pt x="389" y="101"/>
                      </a:lnTo>
                      <a:lnTo>
                        <a:pt x="377" y="111"/>
                      </a:lnTo>
                      <a:lnTo>
                        <a:pt x="360" y="101"/>
                      </a:lnTo>
                      <a:lnTo>
                        <a:pt x="340" y="123"/>
                      </a:lnTo>
                      <a:lnTo>
                        <a:pt x="313" y="113"/>
                      </a:lnTo>
                      <a:lnTo>
                        <a:pt x="325" y="75"/>
                      </a:lnTo>
                      <a:lnTo>
                        <a:pt x="355" y="81"/>
                      </a:lnTo>
                      <a:lnTo>
                        <a:pt x="357" y="40"/>
                      </a:lnTo>
                      <a:lnTo>
                        <a:pt x="319" y="0"/>
                      </a:lnTo>
                      <a:lnTo>
                        <a:pt x="325" y="41"/>
                      </a:lnTo>
                      <a:lnTo>
                        <a:pt x="287" y="65"/>
                      </a:lnTo>
                      <a:lnTo>
                        <a:pt x="283" y="99"/>
                      </a:lnTo>
                      <a:lnTo>
                        <a:pt x="272" y="105"/>
                      </a:lnTo>
                      <a:lnTo>
                        <a:pt x="265" y="111"/>
                      </a:lnTo>
                      <a:lnTo>
                        <a:pt x="239" y="77"/>
                      </a:lnTo>
                      <a:lnTo>
                        <a:pt x="192" y="77"/>
                      </a:lnTo>
                      <a:lnTo>
                        <a:pt x="165" y="95"/>
                      </a:lnTo>
                      <a:lnTo>
                        <a:pt x="153" y="123"/>
                      </a:lnTo>
                      <a:lnTo>
                        <a:pt x="126" y="92"/>
                      </a:lnTo>
                      <a:lnTo>
                        <a:pt x="109" y="57"/>
                      </a:lnTo>
                      <a:lnTo>
                        <a:pt x="94" y="75"/>
                      </a:lnTo>
                      <a:lnTo>
                        <a:pt x="97" y="111"/>
                      </a:lnTo>
                      <a:lnTo>
                        <a:pt x="62" y="104"/>
                      </a:lnTo>
                      <a:lnTo>
                        <a:pt x="50" y="105"/>
                      </a:lnTo>
                      <a:lnTo>
                        <a:pt x="32" y="132"/>
                      </a:lnTo>
                      <a:lnTo>
                        <a:pt x="44" y="153"/>
                      </a:lnTo>
                      <a:lnTo>
                        <a:pt x="32" y="185"/>
                      </a:lnTo>
                      <a:lnTo>
                        <a:pt x="12" y="203"/>
                      </a:lnTo>
                      <a:lnTo>
                        <a:pt x="0" y="213"/>
                      </a:lnTo>
                      <a:lnTo>
                        <a:pt x="4" y="248"/>
                      </a:lnTo>
                      <a:lnTo>
                        <a:pt x="46" y="291"/>
                      </a:lnTo>
                      <a:lnTo>
                        <a:pt x="70" y="289"/>
                      </a:lnTo>
                      <a:lnTo>
                        <a:pt x="74" y="308"/>
                      </a:lnTo>
                      <a:lnTo>
                        <a:pt x="101" y="313"/>
                      </a:lnTo>
                      <a:lnTo>
                        <a:pt x="140" y="337"/>
                      </a:lnTo>
                      <a:lnTo>
                        <a:pt x="153" y="357"/>
                      </a:lnTo>
                      <a:lnTo>
                        <a:pt x="181" y="363"/>
                      </a:lnTo>
                      <a:lnTo>
                        <a:pt x="183" y="391"/>
                      </a:lnTo>
                      <a:lnTo>
                        <a:pt x="196" y="377"/>
                      </a:lnTo>
                      <a:lnTo>
                        <a:pt x="224" y="379"/>
                      </a:lnTo>
                      <a:lnTo>
                        <a:pt x="220" y="351"/>
                      </a:lnTo>
                      <a:lnTo>
                        <a:pt x="265" y="324"/>
                      </a:lnTo>
                      <a:lnTo>
                        <a:pt x="239" y="309"/>
                      </a:lnTo>
                      <a:lnTo>
                        <a:pt x="221" y="323"/>
                      </a:lnTo>
                      <a:lnTo>
                        <a:pt x="207" y="304"/>
                      </a:lnTo>
                      <a:lnTo>
                        <a:pt x="223" y="289"/>
                      </a:lnTo>
                      <a:lnTo>
                        <a:pt x="240" y="247"/>
                      </a:lnTo>
                      <a:lnTo>
                        <a:pt x="223" y="221"/>
                      </a:lnTo>
                      <a:lnTo>
                        <a:pt x="231" y="212"/>
                      </a:lnTo>
                      <a:lnTo>
                        <a:pt x="263" y="227"/>
                      </a:lnTo>
                      <a:lnTo>
                        <a:pt x="283" y="252"/>
                      </a:lnTo>
                      <a:lnTo>
                        <a:pt x="305" y="247"/>
                      </a:lnTo>
                      <a:lnTo>
                        <a:pt x="320" y="259"/>
                      </a:lnTo>
                      <a:lnTo>
                        <a:pt x="332" y="248"/>
                      </a:lnTo>
                      <a:lnTo>
                        <a:pt x="328" y="217"/>
                      </a:lnTo>
                      <a:lnTo>
                        <a:pt x="320" y="203"/>
                      </a:lnTo>
                      <a:lnTo>
                        <a:pt x="340" y="180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" name="Freeform 23"/>
                <p:cNvSpPr>
                  <a:spLocks/>
                </p:cNvSpPr>
                <p:nvPr/>
              </p:nvSpPr>
              <p:spPr bwMode="gray">
                <a:xfrm>
                  <a:off x="3703638" y="4589463"/>
                  <a:ext cx="288925" cy="206375"/>
                </a:xfrm>
                <a:custGeom>
                  <a:avLst/>
                  <a:gdLst>
                    <a:gd name="T0" fmla="*/ 171 w 182"/>
                    <a:gd name="T1" fmla="*/ 88 h 130"/>
                    <a:gd name="T2" fmla="*/ 155 w 182"/>
                    <a:gd name="T3" fmla="*/ 81 h 130"/>
                    <a:gd name="T4" fmla="*/ 150 w 182"/>
                    <a:gd name="T5" fmla="*/ 64 h 130"/>
                    <a:gd name="T6" fmla="*/ 128 w 182"/>
                    <a:gd name="T7" fmla="*/ 64 h 130"/>
                    <a:gd name="T8" fmla="*/ 114 w 182"/>
                    <a:gd name="T9" fmla="*/ 41 h 130"/>
                    <a:gd name="T10" fmla="*/ 112 w 182"/>
                    <a:gd name="T11" fmla="*/ 14 h 130"/>
                    <a:gd name="T12" fmla="*/ 102 w 182"/>
                    <a:gd name="T13" fmla="*/ 10 h 130"/>
                    <a:gd name="T14" fmla="*/ 80 w 182"/>
                    <a:gd name="T15" fmla="*/ 18 h 130"/>
                    <a:gd name="T16" fmla="*/ 54 w 182"/>
                    <a:gd name="T17" fmla="*/ 0 h 130"/>
                    <a:gd name="T18" fmla="*/ 42 w 182"/>
                    <a:gd name="T19" fmla="*/ 1 h 130"/>
                    <a:gd name="T20" fmla="*/ 27 w 182"/>
                    <a:gd name="T21" fmla="*/ 12 h 130"/>
                    <a:gd name="T22" fmla="*/ 20 w 182"/>
                    <a:gd name="T23" fmla="*/ 42 h 130"/>
                    <a:gd name="T24" fmla="*/ 0 w 182"/>
                    <a:gd name="T25" fmla="*/ 60 h 130"/>
                    <a:gd name="T26" fmla="*/ 6 w 182"/>
                    <a:gd name="T27" fmla="*/ 81 h 130"/>
                    <a:gd name="T28" fmla="*/ 22 w 182"/>
                    <a:gd name="T29" fmla="*/ 86 h 130"/>
                    <a:gd name="T30" fmla="*/ 20 w 182"/>
                    <a:gd name="T31" fmla="*/ 110 h 130"/>
                    <a:gd name="T32" fmla="*/ 51 w 182"/>
                    <a:gd name="T33" fmla="*/ 110 h 130"/>
                    <a:gd name="T34" fmla="*/ 66 w 182"/>
                    <a:gd name="T35" fmla="*/ 130 h 130"/>
                    <a:gd name="T36" fmla="*/ 83 w 182"/>
                    <a:gd name="T37" fmla="*/ 113 h 130"/>
                    <a:gd name="T38" fmla="*/ 148 w 182"/>
                    <a:gd name="T39" fmla="*/ 118 h 130"/>
                    <a:gd name="T40" fmla="*/ 182 w 182"/>
                    <a:gd name="T41" fmla="*/ 108 h 130"/>
                    <a:gd name="T42" fmla="*/ 171 w 182"/>
                    <a:gd name="T43" fmla="*/ 88 h 1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82" h="130">
                      <a:moveTo>
                        <a:pt x="171" y="88"/>
                      </a:moveTo>
                      <a:lnTo>
                        <a:pt x="155" y="81"/>
                      </a:lnTo>
                      <a:lnTo>
                        <a:pt x="150" y="64"/>
                      </a:lnTo>
                      <a:lnTo>
                        <a:pt x="128" y="64"/>
                      </a:lnTo>
                      <a:lnTo>
                        <a:pt x="114" y="41"/>
                      </a:lnTo>
                      <a:lnTo>
                        <a:pt x="112" y="14"/>
                      </a:lnTo>
                      <a:lnTo>
                        <a:pt x="102" y="10"/>
                      </a:lnTo>
                      <a:lnTo>
                        <a:pt x="80" y="18"/>
                      </a:lnTo>
                      <a:lnTo>
                        <a:pt x="54" y="0"/>
                      </a:lnTo>
                      <a:lnTo>
                        <a:pt x="42" y="1"/>
                      </a:lnTo>
                      <a:lnTo>
                        <a:pt x="27" y="12"/>
                      </a:lnTo>
                      <a:lnTo>
                        <a:pt x="20" y="42"/>
                      </a:lnTo>
                      <a:lnTo>
                        <a:pt x="0" y="60"/>
                      </a:lnTo>
                      <a:lnTo>
                        <a:pt x="6" y="81"/>
                      </a:lnTo>
                      <a:lnTo>
                        <a:pt x="22" y="86"/>
                      </a:lnTo>
                      <a:lnTo>
                        <a:pt x="20" y="110"/>
                      </a:lnTo>
                      <a:lnTo>
                        <a:pt x="51" y="110"/>
                      </a:lnTo>
                      <a:lnTo>
                        <a:pt x="66" y="130"/>
                      </a:lnTo>
                      <a:lnTo>
                        <a:pt x="83" y="113"/>
                      </a:lnTo>
                      <a:lnTo>
                        <a:pt x="148" y="118"/>
                      </a:lnTo>
                      <a:lnTo>
                        <a:pt x="182" y="108"/>
                      </a:lnTo>
                      <a:lnTo>
                        <a:pt x="171" y="88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" name="Freeform 24"/>
                <p:cNvSpPr>
                  <a:spLocks/>
                </p:cNvSpPr>
                <p:nvPr/>
              </p:nvSpPr>
              <p:spPr bwMode="gray">
                <a:xfrm>
                  <a:off x="3498850" y="4540250"/>
                  <a:ext cx="247650" cy="312738"/>
                </a:xfrm>
                <a:custGeom>
                  <a:avLst/>
                  <a:gdLst>
                    <a:gd name="T0" fmla="*/ 0 w 156"/>
                    <a:gd name="T1" fmla="*/ 173 h 197"/>
                    <a:gd name="T2" fmla="*/ 3 w 156"/>
                    <a:gd name="T3" fmla="*/ 147 h 197"/>
                    <a:gd name="T4" fmla="*/ 33 w 156"/>
                    <a:gd name="T5" fmla="*/ 101 h 197"/>
                    <a:gd name="T6" fmla="*/ 56 w 156"/>
                    <a:gd name="T7" fmla="*/ 103 h 197"/>
                    <a:gd name="T8" fmla="*/ 73 w 156"/>
                    <a:gd name="T9" fmla="*/ 76 h 197"/>
                    <a:gd name="T10" fmla="*/ 20 w 156"/>
                    <a:gd name="T11" fmla="*/ 72 h 197"/>
                    <a:gd name="T12" fmla="*/ 11 w 156"/>
                    <a:gd name="T13" fmla="*/ 56 h 197"/>
                    <a:gd name="T14" fmla="*/ 7 w 156"/>
                    <a:gd name="T15" fmla="*/ 35 h 197"/>
                    <a:gd name="T16" fmla="*/ 21 w 156"/>
                    <a:gd name="T17" fmla="*/ 23 h 197"/>
                    <a:gd name="T18" fmla="*/ 41 w 156"/>
                    <a:gd name="T19" fmla="*/ 36 h 197"/>
                    <a:gd name="T20" fmla="*/ 33 w 156"/>
                    <a:gd name="T21" fmla="*/ 45 h 197"/>
                    <a:gd name="T22" fmla="*/ 53 w 156"/>
                    <a:gd name="T23" fmla="*/ 49 h 197"/>
                    <a:gd name="T24" fmla="*/ 85 w 156"/>
                    <a:gd name="T25" fmla="*/ 39 h 197"/>
                    <a:gd name="T26" fmla="*/ 85 w 156"/>
                    <a:gd name="T27" fmla="*/ 9 h 197"/>
                    <a:gd name="T28" fmla="*/ 92 w 156"/>
                    <a:gd name="T29" fmla="*/ 0 h 197"/>
                    <a:gd name="T30" fmla="*/ 116 w 156"/>
                    <a:gd name="T31" fmla="*/ 24 h 197"/>
                    <a:gd name="T32" fmla="*/ 139 w 156"/>
                    <a:gd name="T33" fmla="*/ 24 h 197"/>
                    <a:gd name="T34" fmla="*/ 156 w 156"/>
                    <a:gd name="T35" fmla="*/ 43 h 197"/>
                    <a:gd name="T36" fmla="*/ 149 w 156"/>
                    <a:gd name="T37" fmla="*/ 73 h 197"/>
                    <a:gd name="T38" fmla="*/ 129 w 156"/>
                    <a:gd name="T39" fmla="*/ 91 h 197"/>
                    <a:gd name="T40" fmla="*/ 135 w 156"/>
                    <a:gd name="T41" fmla="*/ 112 h 197"/>
                    <a:gd name="T42" fmla="*/ 151 w 156"/>
                    <a:gd name="T43" fmla="*/ 117 h 197"/>
                    <a:gd name="T44" fmla="*/ 149 w 156"/>
                    <a:gd name="T45" fmla="*/ 141 h 197"/>
                    <a:gd name="T46" fmla="*/ 115 w 156"/>
                    <a:gd name="T47" fmla="*/ 141 h 197"/>
                    <a:gd name="T48" fmla="*/ 88 w 156"/>
                    <a:gd name="T49" fmla="*/ 127 h 197"/>
                    <a:gd name="T50" fmla="*/ 76 w 156"/>
                    <a:gd name="T51" fmla="*/ 156 h 197"/>
                    <a:gd name="T52" fmla="*/ 91 w 156"/>
                    <a:gd name="T53" fmla="*/ 188 h 197"/>
                    <a:gd name="T54" fmla="*/ 47 w 156"/>
                    <a:gd name="T55" fmla="*/ 180 h 197"/>
                    <a:gd name="T56" fmla="*/ 49 w 156"/>
                    <a:gd name="T57" fmla="*/ 197 h 197"/>
                    <a:gd name="T58" fmla="*/ 21 w 156"/>
                    <a:gd name="T59" fmla="*/ 197 h 197"/>
                    <a:gd name="T60" fmla="*/ 29 w 156"/>
                    <a:gd name="T61" fmla="*/ 184 h 197"/>
                    <a:gd name="T62" fmla="*/ 20 w 156"/>
                    <a:gd name="T63" fmla="*/ 173 h 197"/>
                    <a:gd name="T64" fmla="*/ 0 w 156"/>
                    <a:gd name="T65" fmla="*/ 173 h 1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56" h="197">
                      <a:moveTo>
                        <a:pt x="0" y="173"/>
                      </a:moveTo>
                      <a:lnTo>
                        <a:pt x="3" y="147"/>
                      </a:lnTo>
                      <a:lnTo>
                        <a:pt x="33" y="101"/>
                      </a:lnTo>
                      <a:lnTo>
                        <a:pt x="56" y="103"/>
                      </a:lnTo>
                      <a:lnTo>
                        <a:pt x="73" y="76"/>
                      </a:lnTo>
                      <a:lnTo>
                        <a:pt x="20" y="72"/>
                      </a:lnTo>
                      <a:lnTo>
                        <a:pt x="11" y="56"/>
                      </a:lnTo>
                      <a:lnTo>
                        <a:pt x="7" y="35"/>
                      </a:lnTo>
                      <a:lnTo>
                        <a:pt x="21" y="23"/>
                      </a:lnTo>
                      <a:lnTo>
                        <a:pt x="41" y="36"/>
                      </a:lnTo>
                      <a:lnTo>
                        <a:pt x="33" y="45"/>
                      </a:lnTo>
                      <a:lnTo>
                        <a:pt x="53" y="49"/>
                      </a:lnTo>
                      <a:lnTo>
                        <a:pt x="85" y="39"/>
                      </a:lnTo>
                      <a:lnTo>
                        <a:pt x="85" y="9"/>
                      </a:lnTo>
                      <a:lnTo>
                        <a:pt x="92" y="0"/>
                      </a:lnTo>
                      <a:lnTo>
                        <a:pt x="116" y="24"/>
                      </a:lnTo>
                      <a:lnTo>
                        <a:pt x="139" y="24"/>
                      </a:lnTo>
                      <a:lnTo>
                        <a:pt x="156" y="43"/>
                      </a:lnTo>
                      <a:lnTo>
                        <a:pt x="149" y="73"/>
                      </a:lnTo>
                      <a:lnTo>
                        <a:pt x="129" y="91"/>
                      </a:lnTo>
                      <a:lnTo>
                        <a:pt x="135" y="112"/>
                      </a:lnTo>
                      <a:lnTo>
                        <a:pt x="151" y="117"/>
                      </a:lnTo>
                      <a:lnTo>
                        <a:pt x="149" y="141"/>
                      </a:lnTo>
                      <a:lnTo>
                        <a:pt x="115" y="141"/>
                      </a:lnTo>
                      <a:lnTo>
                        <a:pt x="88" y="127"/>
                      </a:lnTo>
                      <a:lnTo>
                        <a:pt x="76" y="156"/>
                      </a:lnTo>
                      <a:lnTo>
                        <a:pt x="91" y="188"/>
                      </a:lnTo>
                      <a:lnTo>
                        <a:pt x="47" y="180"/>
                      </a:lnTo>
                      <a:lnTo>
                        <a:pt x="49" y="197"/>
                      </a:lnTo>
                      <a:lnTo>
                        <a:pt x="21" y="197"/>
                      </a:lnTo>
                      <a:lnTo>
                        <a:pt x="29" y="184"/>
                      </a:lnTo>
                      <a:lnTo>
                        <a:pt x="20" y="173"/>
                      </a:lnTo>
                      <a:lnTo>
                        <a:pt x="0" y="173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" name="Freeform 26"/>
                <p:cNvSpPr>
                  <a:spLocks/>
                </p:cNvSpPr>
                <p:nvPr/>
              </p:nvSpPr>
              <p:spPr bwMode="gray">
                <a:xfrm>
                  <a:off x="3133725" y="4538663"/>
                  <a:ext cx="442912" cy="441325"/>
                </a:xfrm>
                <a:custGeom>
                  <a:avLst/>
                  <a:gdLst>
                    <a:gd name="T0" fmla="*/ 230 w 279"/>
                    <a:gd name="T1" fmla="*/ 174 h 278"/>
                    <a:gd name="T2" fmla="*/ 250 w 279"/>
                    <a:gd name="T3" fmla="*/ 174 h 278"/>
                    <a:gd name="T4" fmla="*/ 259 w 279"/>
                    <a:gd name="T5" fmla="*/ 185 h 278"/>
                    <a:gd name="T6" fmla="*/ 251 w 279"/>
                    <a:gd name="T7" fmla="*/ 198 h 278"/>
                    <a:gd name="T8" fmla="*/ 247 w 279"/>
                    <a:gd name="T9" fmla="*/ 198 h 278"/>
                    <a:gd name="T10" fmla="*/ 279 w 279"/>
                    <a:gd name="T11" fmla="*/ 252 h 278"/>
                    <a:gd name="T12" fmla="*/ 255 w 279"/>
                    <a:gd name="T13" fmla="*/ 278 h 278"/>
                    <a:gd name="T14" fmla="*/ 226 w 279"/>
                    <a:gd name="T15" fmla="*/ 252 h 278"/>
                    <a:gd name="T16" fmla="*/ 199 w 279"/>
                    <a:gd name="T17" fmla="*/ 260 h 278"/>
                    <a:gd name="T18" fmla="*/ 185 w 279"/>
                    <a:gd name="T19" fmla="*/ 216 h 278"/>
                    <a:gd name="T20" fmla="*/ 155 w 279"/>
                    <a:gd name="T21" fmla="*/ 216 h 278"/>
                    <a:gd name="T22" fmla="*/ 143 w 279"/>
                    <a:gd name="T23" fmla="*/ 201 h 278"/>
                    <a:gd name="T24" fmla="*/ 90 w 279"/>
                    <a:gd name="T25" fmla="*/ 201 h 278"/>
                    <a:gd name="T26" fmla="*/ 96 w 279"/>
                    <a:gd name="T27" fmla="*/ 186 h 278"/>
                    <a:gd name="T28" fmla="*/ 66 w 279"/>
                    <a:gd name="T29" fmla="*/ 157 h 278"/>
                    <a:gd name="T30" fmla="*/ 58 w 279"/>
                    <a:gd name="T31" fmla="*/ 128 h 278"/>
                    <a:gd name="T32" fmla="*/ 36 w 279"/>
                    <a:gd name="T33" fmla="*/ 125 h 278"/>
                    <a:gd name="T34" fmla="*/ 40 w 279"/>
                    <a:gd name="T35" fmla="*/ 106 h 278"/>
                    <a:gd name="T36" fmla="*/ 14 w 279"/>
                    <a:gd name="T37" fmla="*/ 104 h 278"/>
                    <a:gd name="T38" fmla="*/ 0 w 279"/>
                    <a:gd name="T39" fmla="*/ 81 h 278"/>
                    <a:gd name="T40" fmla="*/ 24 w 279"/>
                    <a:gd name="T41" fmla="*/ 81 h 278"/>
                    <a:gd name="T42" fmla="*/ 36 w 279"/>
                    <a:gd name="T43" fmla="*/ 62 h 278"/>
                    <a:gd name="T44" fmla="*/ 64 w 279"/>
                    <a:gd name="T45" fmla="*/ 54 h 278"/>
                    <a:gd name="T46" fmla="*/ 71 w 279"/>
                    <a:gd name="T47" fmla="*/ 33 h 278"/>
                    <a:gd name="T48" fmla="*/ 91 w 279"/>
                    <a:gd name="T49" fmla="*/ 25 h 278"/>
                    <a:gd name="T50" fmla="*/ 108 w 279"/>
                    <a:gd name="T51" fmla="*/ 0 h 278"/>
                    <a:gd name="T52" fmla="*/ 128 w 279"/>
                    <a:gd name="T53" fmla="*/ 10 h 278"/>
                    <a:gd name="T54" fmla="*/ 128 w 279"/>
                    <a:gd name="T55" fmla="*/ 61 h 278"/>
                    <a:gd name="T56" fmla="*/ 145 w 279"/>
                    <a:gd name="T57" fmla="*/ 89 h 278"/>
                    <a:gd name="T58" fmla="*/ 138 w 279"/>
                    <a:gd name="T59" fmla="*/ 116 h 278"/>
                    <a:gd name="T60" fmla="*/ 143 w 279"/>
                    <a:gd name="T61" fmla="*/ 136 h 278"/>
                    <a:gd name="T62" fmla="*/ 154 w 279"/>
                    <a:gd name="T63" fmla="*/ 125 h 278"/>
                    <a:gd name="T64" fmla="*/ 166 w 279"/>
                    <a:gd name="T65" fmla="*/ 134 h 278"/>
                    <a:gd name="T66" fmla="*/ 154 w 279"/>
                    <a:gd name="T67" fmla="*/ 146 h 278"/>
                    <a:gd name="T68" fmla="*/ 155 w 279"/>
                    <a:gd name="T69" fmla="*/ 173 h 278"/>
                    <a:gd name="T70" fmla="*/ 162 w 279"/>
                    <a:gd name="T71" fmla="*/ 186 h 278"/>
                    <a:gd name="T72" fmla="*/ 181 w 279"/>
                    <a:gd name="T73" fmla="*/ 176 h 278"/>
                    <a:gd name="T74" fmla="*/ 191 w 279"/>
                    <a:gd name="T75" fmla="*/ 182 h 278"/>
                    <a:gd name="T76" fmla="*/ 194 w 279"/>
                    <a:gd name="T77" fmla="*/ 196 h 278"/>
                    <a:gd name="T78" fmla="*/ 206 w 279"/>
                    <a:gd name="T79" fmla="*/ 190 h 278"/>
                    <a:gd name="T80" fmla="*/ 225 w 279"/>
                    <a:gd name="T81" fmla="*/ 174 h 278"/>
                    <a:gd name="T82" fmla="*/ 230 w 279"/>
                    <a:gd name="T83" fmla="*/ 174 h 2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279" h="278">
                      <a:moveTo>
                        <a:pt x="230" y="174"/>
                      </a:moveTo>
                      <a:lnTo>
                        <a:pt x="250" y="174"/>
                      </a:lnTo>
                      <a:lnTo>
                        <a:pt x="259" y="185"/>
                      </a:lnTo>
                      <a:lnTo>
                        <a:pt x="251" y="198"/>
                      </a:lnTo>
                      <a:lnTo>
                        <a:pt x="247" y="198"/>
                      </a:lnTo>
                      <a:lnTo>
                        <a:pt x="279" y="252"/>
                      </a:lnTo>
                      <a:lnTo>
                        <a:pt x="255" y="278"/>
                      </a:lnTo>
                      <a:lnTo>
                        <a:pt x="226" y="252"/>
                      </a:lnTo>
                      <a:lnTo>
                        <a:pt x="199" y="260"/>
                      </a:lnTo>
                      <a:lnTo>
                        <a:pt x="185" y="216"/>
                      </a:lnTo>
                      <a:lnTo>
                        <a:pt x="155" y="216"/>
                      </a:lnTo>
                      <a:lnTo>
                        <a:pt x="143" y="201"/>
                      </a:lnTo>
                      <a:lnTo>
                        <a:pt x="90" y="201"/>
                      </a:lnTo>
                      <a:lnTo>
                        <a:pt x="96" y="186"/>
                      </a:lnTo>
                      <a:lnTo>
                        <a:pt x="66" y="157"/>
                      </a:lnTo>
                      <a:lnTo>
                        <a:pt x="58" y="128"/>
                      </a:lnTo>
                      <a:lnTo>
                        <a:pt x="36" y="125"/>
                      </a:lnTo>
                      <a:lnTo>
                        <a:pt x="40" y="106"/>
                      </a:lnTo>
                      <a:lnTo>
                        <a:pt x="14" y="104"/>
                      </a:lnTo>
                      <a:lnTo>
                        <a:pt x="0" y="81"/>
                      </a:lnTo>
                      <a:lnTo>
                        <a:pt x="24" y="81"/>
                      </a:lnTo>
                      <a:lnTo>
                        <a:pt x="36" y="62"/>
                      </a:lnTo>
                      <a:lnTo>
                        <a:pt x="64" y="54"/>
                      </a:lnTo>
                      <a:lnTo>
                        <a:pt x="71" y="33"/>
                      </a:lnTo>
                      <a:lnTo>
                        <a:pt x="91" y="25"/>
                      </a:lnTo>
                      <a:lnTo>
                        <a:pt x="108" y="0"/>
                      </a:lnTo>
                      <a:lnTo>
                        <a:pt x="128" y="10"/>
                      </a:lnTo>
                      <a:lnTo>
                        <a:pt x="128" y="61"/>
                      </a:lnTo>
                      <a:lnTo>
                        <a:pt x="145" y="89"/>
                      </a:lnTo>
                      <a:lnTo>
                        <a:pt x="138" y="116"/>
                      </a:lnTo>
                      <a:lnTo>
                        <a:pt x="143" y="136"/>
                      </a:lnTo>
                      <a:lnTo>
                        <a:pt x="154" y="125"/>
                      </a:lnTo>
                      <a:lnTo>
                        <a:pt x="166" y="134"/>
                      </a:lnTo>
                      <a:lnTo>
                        <a:pt x="154" y="146"/>
                      </a:lnTo>
                      <a:lnTo>
                        <a:pt x="155" y="173"/>
                      </a:lnTo>
                      <a:lnTo>
                        <a:pt x="162" y="186"/>
                      </a:lnTo>
                      <a:lnTo>
                        <a:pt x="181" y="176"/>
                      </a:lnTo>
                      <a:lnTo>
                        <a:pt x="191" y="182"/>
                      </a:lnTo>
                      <a:lnTo>
                        <a:pt x="194" y="196"/>
                      </a:lnTo>
                      <a:lnTo>
                        <a:pt x="206" y="190"/>
                      </a:lnTo>
                      <a:lnTo>
                        <a:pt x="225" y="174"/>
                      </a:lnTo>
                      <a:lnTo>
                        <a:pt x="230" y="174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" name="Freeform 27"/>
                <p:cNvSpPr>
                  <a:spLocks/>
                </p:cNvSpPr>
                <p:nvPr/>
              </p:nvSpPr>
              <p:spPr bwMode="gray">
                <a:xfrm>
                  <a:off x="2941638" y="3695700"/>
                  <a:ext cx="441325" cy="373063"/>
                </a:xfrm>
                <a:custGeom>
                  <a:avLst/>
                  <a:gdLst>
                    <a:gd name="T0" fmla="*/ 12 w 278"/>
                    <a:gd name="T1" fmla="*/ 107 h 235"/>
                    <a:gd name="T2" fmla="*/ 11 w 278"/>
                    <a:gd name="T3" fmla="*/ 95 h 235"/>
                    <a:gd name="T4" fmla="*/ 0 w 278"/>
                    <a:gd name="T5" fmla="*/ 84 h 235"/>
                    <a:gd name="T6" fmla="*/ 3 w 278"/>
                    <a:gd name="T7" fmla="*/ 61 h 235"/>
                    <a:gd name="T8" fmla="*/ 33 w 278"/>
                    <a:gd name="T9" fmla="*/ 59 h 235"/>
                    <a:gd name="T10" fmla="*/ 36 w 278"/>
                    <a:gd name="T11" fmla="*/ 36 h 235"/>
                    <a:gd name="T12" fmla="*/ 88 w 278"/>
                    <a:gd name="T13" fmla="*/ 3 h 235"/>
                    <a:gd name="T14" fmla="*/ 103 w 278"/>
                    <a:gd name="T15" fmla="*/ 0 h 235"/>
                    <a:gd name="T16" fmla="*/ 135 w 278"/>
                    <a:gd name="T17" fmla="*/ 27 h 235"/>
                    <a:gd name="T18" fmla="*/ 123 w 278"/>
                    <a:gd name="T19" fmla="*/ 37 h 235"/>
                    <a:gd name="T20" fmla="*/ 127 w 278"/>
                    <a:gd name="T21" fmla="*/ 72 h 235"/>
                    <a:gd name="T22" fmla="*/ 169 w 278"/>
                    <a:gd name="T23" fmla="*/ 115 h 235"/>
                    <a:gd name="T24" fmla="*/ 193 w 278"/>
                    <a:gd name="T25" fmla="*/ 113 h 235"/>
                    <a:gd name="T26" fmla="*/ 197 w 278"/>
                    <a:gd name="T27" fmla="*/ 132 h 235"/>
                    <a:gd name="T28" fmla="*/ 224 w 278"/>
                    <a:gd name="T29" fmla="*/ 137 h 235"/>
                    <a:gd name="T30" fmla="*/ 263 w 278"/>
                    <a:gd name="T31" fmla="*/ 161 h 235"/>
                    <a:gd name="T32" fmla="*/ 276 w 278"/>
                    <a:gd name="T33" fmla="*/ 181 h 235"/>
                    <a:gd name="T34" fmla="*/ 278 w 278"/>
                    <a:gd name="T35" fmla="*/ 197 h 235"/>
                    <a:gd name="T36" fmla="*/ 255 w 278"/>
                    <a:gd name="T37" fmla="*/ 215 h 235"/>
                    <a:gd name="T38" fmla="*/ 251 w 278"/>
                    <a:gd name="T39" fmla="*/ 231 h 235"/>
                    <a:gd name="T40" fmla="*/ 249 w 278"/>
                    <a:gd name="T41" fmla="*/ 232 h 235"/>
                    <a:gd name="T42" fmla="*/ 203 w 278"/>
                    <a:gd name="T43" fmla="*/ 235 h 235"/>
                    <a:gd name="T44" fmla="*/ 139 w 278"/>
                    <a:gd name="T45" fmla="*/ 175 h 235"/>
                    <a:gd name="T46" fmla="*/ 97 w 278"/>
                    <a:gd name="T47" fmla="*/ 185 h 235"/>
                    <a:gd name="T48" fmla="*/ 81 w 278"/>
                    <a:gd name="T49" fmla="*/ 177 h 235"/>
                    <a:gd name="T50" fmla="*/ 81 w 278"/>
                    <a:gd name="T51" fmla="*/ 159 h 235"/>
                    <a:gd name="T52" fmla="*/ 91 w 278"/>
                    <a:gd name="T53" fmla="*/ 148 h 235"/>
                    <a:gd name="T54" fmla="*/ 85 w 278"/>
                    <a:gd name="T55" fmla="*/ 135 h 235"/>
                    <a:gd name="T56" fmla="*/ 29 w 278"/>
                    <a:gd name="T57" fmla="*/ 133 h 235"/>
                    <a:gd name="T58" fmla="*/ 25 w 278"/>
                    <a:gd name="T59" fmla="*/ 105 h 235"/>
                    <a:gd name="T60" fmla="*/ 12 w 278"/>
                    <a:gd name="T61" fmla="*/ 107 h 2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278" h="235">
                      <a:moveTo>
                        <a:pt x="12" y="107"/>
                      </a:moveTo>
                      <a:lnTo>
                        <a:pt x="11" y="95"/>
                      </a:lnTo>
                      <a:lnTo>
                        <a:pt x="0" y="84"/>
                      </a:lnTo>
                      <a:lnTo>
                        <a:pt x="3" y="61"/>
                      </a:lnTo>
                      <a:lnTo>
                        <a:pt x="33" y="59"/>
                      </a:lnTo>
                      <a:lnTo>
                        <a:pt x="36" y="36"/>
                      </a:lnTo>
                      <a:lnTo>
                        <a:pt x="88" y="3"/>
                      </a:lnTo>
                      <a:lnTo>
                        <a:pt x="103" y="0"/>
                      </a:lnTo>
                      <a:lnTo>
                        <a:pt x="135" y="27"/>
                      </a:lnTo>
                      <a:lnTo>
                        <a:pt x="123" y="37"/>
                      </a:lnTo>
                      <a:lnTo>
                        <a:pt x="127" y="72"/>
                      </a:lnTo>
                      <a:lnTo>
                        <a:pt x="169" y="115"/>
                      </a:lnTo>
                      <a:lnTo>
                        <a:pt x="193" y="113"/>
                      </a:lnTo>
                      <a:lnTo>
                        <a:pt x="197" y="132"/>
                      </a:lnTo>
                      <a:lnTo>
                        <a:pt x="224" y="137"/>
                      </a:lnTo>
                      <a:lnTo>
                        <a:pt x="263" y="161"/>
                      </a:lnTo>
                      <a:lnTo>
                        <a:pt x="276" y="181"/>
                      </a:lnTo>
                      <a:lnTo>
                        <a:pt x="278" y="197"/>
                      </a:lnTo>
                      <a:lnTo>
                        <a:pt x="255" y="215"/>
                      </a:lnTo>
                      <a:lnTo>
                        <a:pt x="251" y="231"/>
                      </a:lnTo>
                      <a:lnTo>
                        <a:pt x="249" y="232"/>
                      </a:lnTo>
                      <a:lnTo>
                        <a:pt x="203" y="235"/>
                      </a:lnTo>
                      <a:lnTo>
                        <a:pt x="139" y="175"/>
                      </a:lnTo>
                      <a:lnTo>
                        <a:pt x="97" y="185"/>
                      </a:lnTo>
                      <a:lnTo>
                        <a:pt x="81" y="177"/>
                      </a:lnTo>
                      <a:lnTo>
                        <a:pt x="81" y="159"/>
                      </a:lnTo>
                      <a:lnTo>
                        <a:pt x="91" y="148"/>
                      </a:lnTo>
                      <a:lnTo>
                        <a:pt x="85" y="135"/>
                      </a:lnTo>
                      <a:lnTo>
                        <a:pt x="29" y="133"/>
                      </a:lnTo>
                      <a:lnTo>
                        <a:pt x="25" y="105"/>
                      </a:lnTo>
                      <a:lnTo>
                        <a:pt x="12" y="107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" name="Freeform 28"/>
                <p:cNvSpPr>
                  <a:spLocks/>
                </p:cNvSpPr>
                <p:nvPr/>
              </p:nvSpPr>
              <p:spPr bwMode="gray">
                <a:xfrm>
                  <a:off x="3206750" y="3983038"/>
                  <a:ext cx="366712" cy="412750"/>
                </a:xfrm>
                <a:custGeom>
                  <a:avLst/>
                  <a:gdLst>
                    <a:gd name="T0" fmla="*/ 203 w 231"/>
                    <a:gd name="T1" fmla="*/ 192 h 260"/>
                    <a:gd name="T2" fmla="*/ 187 w 231"/>
                    <a:gd name="T3" fmla="*/ 195 h 260"/>
                    <a:gd name="T4" fmla="*/ 175 w 231"/>
                    <a:gd name="T5" fmla="*/ 198 h 260"/>
                    <a:gd name="T6" fmla="*/ 164 w 231"/>
                    <a:gd name="T7" fmla="*/ 179 h 260"/>
                    <a:gd name="T8" fmla="*/ 145 w 231"/>
                    <a:gd name="T9" fmla="*/ 174 h 260"/>
                    <a:gd name="T10" fmla="*/ 131 w 231"/>
                    <a:gd name="T11" fmla="*/ 204 h 260"/>
                    <a:gd name="T12" fmla="*/ 109 w 231"/>
                    <a:gd name="T13" fmla="*/ 211 h 260"/>
                    <a:gd name="T14" fmla="*/ 104 w 231"/>
                    <a:gd name="T15" fmla="*/ 232 h 260"/>
                    <a:gd name="T16" fmla="*/ 80 w 231"/>
                    <a:gd name="T17" fmla="*/ 260 h 260"/>
                    <a:gd name="T18" fmla="*/ 74 w 231"/>
                    <a:gd name="T19" fmla="*/ 232 h 260"/>
                    <a:gd name="T20" fmla="*/ 66 w 231"/>
                    <a:gd name="T21" fmla="*/ 230 h 260"/>
                    <a:gd name="T22" fmla="*/ 65 w 231"/>
                    <a:gd name="T23" fmla="*/ 223 h 260"/>
                    <a:gd name="T24" fmla="*/ 60 w 231"/>
                    <a:gd name="T25" fmla="*/ 203 h 260"/>
                    <a:gd name="T26" fmla="*/ 66 w 231"/>
                    <a:gd name="T27" fmla="*/ 183 h 260"/>
                    <a:gd name="T28" fmla="*/ 29 w 231"/>
                    <a:gd name="T29" fmla="*/ 180 h 260"/>
                    <a:gd name="T30" fmla="*/ 0 w 231"/>
                    <a:gd name="T31" fmla="*/ 163 h 260"/>
                    <a:gd name="T32" fmla="*/ 1 w 231"/>
                    <a:gd name="T33" fmla="*/ 158 h 260"/>
                    <a:gd name="T34" fmla="*/ 10 w 231"/>
                    <a:gd name="T35" fmla="*/ 139 h 260"/>
                    <a:gd name="T36" fmla="*/ 36 w 231"/>
                    <a:gd name="T37" fmla="*/ 143 h 260"/>
                    <a:gd name="T38" fmla="*/ 46 w 231"/>
                    <a:gd name="T39" fmla="*/ 128 h 260"/>
                    <a:gd name="T40" fmla="*/ 29 w 231"/>
                    <a:gd name="T41" fmla="*/ 106 h 260"/>
                    <a:gd name="T42" fmla="*/ 46 w 231"/>
                    <a:gd name="T43" fmla="*/ 91 h 260"/>
                    <a:gd name="T44" fmla="*/ 73 w 231"/>
                    <a:gd name="T45" fmla="*/ 90 h 260"/>
                    <a:gd name="T46" fmla="*/ 82 w 231"/>
                    <a:gd name="T47" fmla="*/ 51 h 260"/>
                    <a:gd name="T48" fmla="*/ 84 w 231"/>
                    <a:gd name="T49" fmla="*/ 50 h 260"/>
                    <a:gd name="T50" fmla="*/ 88 w 231"/>
                    <a:gd name="T51" fmla="*/ 34 h 260"/>
                    <a:gd name="T52" fmla="*/ 111 w 231"/>
                    <a:gd name="T53" fmla="*/ 16 h 260"/>
                    <a:gd name="T54" fmla="*/ 109 w 231"/>
                    <a:gd name="T55" fmla="*/ 0 h 260"/>
                    <a:gd name="T56" fmla="*/ 137 w 231"/>
                    <a:gd name="T57" fmla="*/ 6 h 260"/>
                    <a:gd name="T58" fmla="*/ 139 w 231"/>
                    <a:gd name="T59" fmla="*/ 34 h 260"/>
                    <a:gd name="T60" fmla="*/ 116 w 231"/>
                    <a:gd name="T61" fmla="*/ 67 h 260"/>
                    <a:gd name="T62" fmla="*/ 119 w 231"/>
                    <a:gd name="T63" fmla="*/ 108 h 260"/>
                    <a:gd name="T64" fmla="*/ 133 w 231"/>
                    <a:gd name="T65" fmla="*/ 110 h 260"/>
                    <a:gd name="T66" fmla="*/ 145 w 231"/>
                    <a:gd name="T67" fmla="*/ 96 h 260"/>
                    <a:gd name="T68" fmla="*/ 176 w 231"/>
                    <a:gd name="T69" fmla="*/ 98 h 260"/>
                    <a:gd name="T70" fmla="*/ 183 w 231"/>
                    <a:gd name="T71" fmla="*/ 104 h 260"/>
                    <a:gd name="T72" fmla="*/ 208 w 231"/>
                    <a:gd name="T73" fmla="*/ 100 h 260"/>
                    <a:gd name="T74" fmla="*/ 209 w 231"/>
                    <a:gd name="T75" fmla="*/ 111 h 260"/>
                    <a:gd name="T76" fmla="*/ 231 w 231"/>
                    <a:gd name="T77" fmla="*/ 122 h 260"/>
                    <a:gd name="T78" fmla="*/ 208 w 231"/>
                    <a:gd name="T79" fmla="*/ 146 h 260"/>
                    <a:gd name="T80" fmla="*/ 203 w 231"/>
                    <a:gd name="T81" fmla="*/ 192 h 2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231" h="260">
                      <a:moveTo>
                        <a:pt x="203" y="192"/>
                      </a:moveTo>
                      <a:lnTo>
                        <a:pt x="187" y="195"/>
                      </a:lnTo>
                      <a:lnTo>
                        <a:pt x="175" y="198"/>
                      </a:lnTo>
                      <a:lnTo>
                        <a:pt x="164" y="179"/>
                      </a:lnTo>
                      <a:lnTo>
                        <a:pt x="145" y="174"/>
                      </a:lnTo>
                      <a:lnTo>
                        <a:pt x="131" y="204"/>
                      </a:lnTo>
                      <a:lnTo>
                        <a:pt x="109" y="211"/>
                      </a:lnTo>
                      <a:lnTo>
                        <a:pt x="104" y="232"/>
                      </a:lnTo>
                      <a:lnTo>
                        <a:pt x="80" y="260"/>
                      </a:lnTo>
                      <a:lnTo>
                        <a:pt x="74" y="232"/>
                      </a:lnTo>
                      <a:lnTo>
                        <a:pt x="66" y="230"/>
                      </a:lnTo>
                      <a:lnTo>
                        <a:pt x="65" y="223"/>
                      </a:lnTo>
                      <a:lnTo>
                        <a:pt x="60" y="203"/>
                      </a:lnTo>
                      <a:lnTo>
                        <a:pt x="66" y="183"/>
                      </a:lnTo>
                      <a:lnTo>
                        <a:pt x="29" y="180"/>
                      </a:lnTo>
                      <a:lnTo>
                        <a:pt x="0" y="163"/>
                      </a:lnTo>
                      <a:lnTo>
                        <a:pt x="1" y="158"/>
                      </a:lnTo>
                      <a:lnTo>
                        <a:pt x="10" y="139"/>
                      </a:lnTo>
                      <a:lnTo>
                        <a:pt x="36" y="143"/>
                      </a:lnTo>
                      <a:lnTo>
                        <a:pt x="46" y="128"/>
                      </a:lnTo>
                      <a:lnTo>
                        <a:pt x="29" y="106"/>
                      </a:lnTo>
                      <a:lnTo>
                        <a:pt x="46" y="91"/>
                      </a:lnTo>
                      <a:lnTo>
                        <a:pt x="73" y="90"/>
                      </a:lnTo>
                      <a:lnTo>
                        <a:pt x="82" y="51"/>
                      </a:lnTo>
                      <a:lnTo>
                        <a:pt x="84" y="50"/>
                      </a:lnTo>
                      <a:lnTo>
                        <a:pt x="88" y="34"/>
                      </a:lnTo>
                      <a:lnTo>
                        <a:pt x="111" y="16"/>
                      </a:lnTo>
                      <a:lnTo>
                        <a:pt x="109" y="0"/>
                      </a:lnTo>
                      <a:lnTo>
                        <a:pt x="137" y="6"/>
                      </a:lnTo>
                      <a:lnTo>
                        <a:pt x="139" y="34"/>
                      </a:lnTo>
                      <a:lnTo>
                        <a:pt x="116" y="67"/>
                      </a:lnTo>
                      <a:lnTo>
                        <a:pt x="119" y="108"/>
                      </a:lnTo>
                      <a:lnTo>
                        <a:pt x="133" y="110"/>
                      </a:lnTo>
                      <a:lnTo>
                        <a:pt x="145" y="96"/>
                      </a:lnTo>
                      <a:lnTo>
                        <a:pt x="176" y="98"/>
                      </a:lnTo>
                      <a:lnTo>
                        <a:pt x="183" y="104"/>
                      </a:lnTo>
                      <a:lnTo>
                        <a:pt x="208" y="100"/>
                      </a:lnTo>
                      <a:lnTo>
                        <a:pt x="209" y="111"/>
                      </a:lnTo>
                      <a:lnTo>
                        <a:pt x="231" y="122"/>
                      </a:lnTo>
                      <a:lnTo>
                        <a:pt x="208" y="146"/>
                      </a:lnTo>
                      <a:lnTo>
                        <a:pt x="203" y="192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30" name="Freeform 29"/>
                <p:cNvSpPr>
                  <a:spLocks/>
                </p:cNvSpPr>
                <p:nvPr/>
              </p:nvSpPr>
              <p:spPr bwMode="gray">
                <a:xfrm>
                  <a:off x="3333750" y="4259263"/>
                  <a:ext cx="176212" cy="211138"/>
                </a:xfrm>
                <a:custGeom>
                  <a:avLst/>
                  <a:gdLst>
                    <a:gd name="T0" fmla="*/ 107 w 111"/>
                    <a:gd name="T1" fmla="*/ 21 h 133"/>
                    <a:gd name="T2" fmla="*/ 111 w 111"/>
                    <a:gd name="T3" fmla="*/ 49 h 133"/>
                    <a:gd name="T4" fmla="*/ 99 w 111"/>
                    <a:gd name="T5" fmla="*/ 56 h 133"/>
                    <a:gd name="T6" fmla="*/ 100 w 111"/>
                    <a:gd name="T7" fmla="*/ 85 h 133"/>
                    <a:gd name="T8" fmla="*/ 65 w 111"/>
                    <a:gd name="T9" fmla="*/ 93 h 133"/>
                    <a:gd name="T10" fmla="*/ 80 w 111"/>
                    <a:gd name="T11" fmla="*/ 112 h 133"/>
                    <a:gd name="T12" fmla="*/ 52 w 111"/>
                    <a:gd name="T13" fmla="*/ 130 h 133"/>
                    <a:gd name="T14" fmla="*/ 48 w 111"/>
                    <a:gd name="T15" fmla="*/ 133 h 133"/>
                    <a:gd name="T16" fmla="*/ 45 w 111"/>
                    <a:gd name="T17" fmla="*/ 100 h 133"/>
                    <a:gd name="T18" fmla="*/ 27 w 111"/>
                    <a:gd name="T19" fmla="*/ 98 h 133"/>
                    <a:gd name="T20" fmla="*/ 24 w 111"/>
                    <a:gd name="T21" fmla="*/ 109 h 133"/>
                    <a:gd name="T22" fmla="*/ 0 w 111"/>
                    <a:gd name="T23" fmla="*/ 86 h 133"/>
                    <a:gd name="T24" fmla="*/ 24 w 111"/>
                    <a:gd name="T25" fmla="*/ 58 h 133"/>
                    <a:gd name="T26" fmla="*/ 29 w 111"/>
                    <a:gd name="T27" fmla="*/ 37 h 133"/>
                    <a:gd name="T28" fmla="*/ 51 w 111"/>
                    <a:gd name="T29" fmla="*/ 30 h 133"/>
                    <a:gd name="T30" fmla="*/ 65 w 111"/>
                    <a:gd name="T31" fmla="*/ 0 h 133"/>
                    <a:gd name="T32" fmla="*/ 84 w 111"/>
                    <a:gd name="T33" fmla="*/ 5 h 133"/>
                    <a:gd name="T34" fmla="*/ 95 w 111"/>
                    <a:gd name="T35" fmla="*/ 24 h 133"/>
                    <a:gd name="T36" fmla="*/ 107 w 111"/>
                    <a:gd name="T37" fmla="*/ 21 h 1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11" h="133">
                      <a:moveTo>
                        <a:pt x="107" y="21"/>
                      </a:moveTo>
                      <a:lnTo>
                        <a:pt x="111" y="49"/>
                      </a:lnTo>
                      <a:lnTo>
                        <a:pt x="99" y="56"/>
                      </a:lnTo>
                      <a:lnTo>
                        <a:pt x="100" y="85"/>
                      </a:lnTo>
                      <a:lnTo>
                        <a:pt x="65" y="93"/>
                      </a:lnTo>
                      <a:lnTo>
                        <a:pt x="80" y="112"/>
                      </a:lnTo>
                      <a:lnTo>
                        <a:pt x="52" y="130"/>
                      </a:lnTo>
                      <a:lnTo>
                        <a:pt x="48" y="133"/>
                      </a:lnTo>
                      <a:lnTo>
                        <a:pt x="45" y="100"/>
                      </a:lnTo>
                      <a:lnTo>
                        <a:pt x="27" y="98"/>
                      </a:lnTo>
                      <a:lnTo>
                        <a:pt x="24" y="109"/>
                      </a:lnTo>
                      <a:lnTo>
                        <a:pt x="0" y="86"/>
                      </a:lnTo>
                      <a:lnTo>
                        <a:pt x="24" y="58"/>
                      </a:lnTo>
                      <a:lnTo>
                        <a:pt x="29" y="37"/>
                      </a:lnTo>
                      <a:lnTo>
                        <a:pt x="51" y="30"/>
                      </a:lnTo>
                      <a:lnTo>
                        <a:pt x="65" y="0"/>
                      </a:lnTo>
                      <a:lnTo>
                        <a:pt x="84" y="5"/>
                      </a:lnTo>
                      <a:lnTo>
                        <a:pt x="95" y="24"/>
                      </a:lnTo>
                      <a:lnTo>
                        <a:pt x="107" y="21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31" name="Freeform 30"/>
                <p:cNvSpPr>
                  <a:spLocks/>
                </p:cNvSpPr>
                <p:nvPr/>
              </p:nvSpPr>
              <p:spPr bwMode="gray">
                <a:xfrm>
                  <a:off x="3132138" y="4337050"/>
                  <a:ext cx="284162" cy="217488"/>
                </a:xfrm>
                <a:custGeom>
                  <a:avLst/>
                  <a:gdLst>
                    <a:gd name="T0" fmla="*/ 112 w 179"/>
                    <a:gd name="T1" fmla="*/ 0 h 137"/>
                    <a:gd name="T2" fmla="*/ 47 w 179"/>
                    <a:gd name="T3" fmla="*/ 4 h 137"/>
                    <a:gd name="T4" fmla="*/ 24 w 179"/>
                    <a:gd name="T5" fmla="*/ 16 h 137"/>
                    <a:gd name="T6" fmla="*/ 24 w 179"/>
                    <a:gd name="T7" fmla="*/ 27 h 137"/>
                    <a:gd name="T8" fmla="*/ 0 w 179"/>
                    <a:gd name="T9" fmla="*/ 39 h 137"/>
                    <a:gd name="T10" fmla="*/ 19 w 179"/>
                    <a:gd name="T11" fmla="*/ 56 h 137"/>
                    <a:gd name="T12" fmla="*/ 44 w 179"/>
                    <a:gd name="T13" fmla="*/ 59 h 137"/>
                    <a:gd name="T14" fmla="*/ 49 w 179"/>
                    <a:gd name="T15" fmla="*/ 83 h 137"/>
                    <a:gd name="T16" fmla="*/ 57 w 179"/>
                    <a:gd name="T17" fmla="*/ 96 h 137"/>
                    <a:gd name="T18" fmla="*/ 87 w 179"/>
                    <a:gd name="T19" fmla="*/ 96 h 137"/>
                    <a:gd name="T20" fmla="*/ 109 w 179"/>
                    <a:gd name="T21" fmla="*/ 127 h 137"/>
                    <a:gd name="T22" fmla="*/ 129 w 179"/>
                    <a:gd name="T23" fmla="*/ 137 h 137"/>
                    <a:gd name="T24" fmla="*/ 148 w 179"/>
                    <a:gd name="T25" fmla="*/ 124 h 137"/>
                    <a:gd name="T26" fmla="*/ 146 w 179"/>
                    <a:gd name="T27" fmla="*/ 107 h 137"/>
                    <a:gd name="T28" fmla="*/ 175 w 179"/>
                    <a:gd name="T29" fmla="*/ 107 h 137"/>
                    <a:gd name="T30" fmla="*/ 179 w 179"/>
                    <a:gd name="T31" fmla="*/ 81 h 137"/>
                    <a:gd name="T32" fmla="*/ 175 w 179"/>
                    <a:gd name="T33" fmla="*/ 84 h 137"/>
                    <a:gd name="T34" fmla="*/ 172 w 179"/>
                    <a:gd name="T35" fmla="*/ 51 h 137"/>
                    <a:gd name="T36" fmla="*/ 154 w 179"/>
                    <a:gd name="T37" fmla="*/ 49 h 137"/>
                    <a:gd name="T38" fmla="*/ 151 w 179"/>
                    <a:gd name="T39" fmla="*/ 60 h 137"/>
                    <a:gd name="T40" fmla="*/ 127 w 179"/>
                    <a:gd name="T41" fmla="*/ 37 h 137"/>
                    <a:gd name="T42" fmla="*/ 121 w 179"/>
                    <a:gd name="T43" fmla="*/ 9 h 137"/>
                    <a:gd name="T44" fmla="*/ 113 w 179"/>
                    <a:gd name="T45" fmla="*/ 7 h 137"/>
                    <a:gd name="T46" fmla="*/ 112 w 179"/>
                    <a:gd name="T47" fmla="*/ 0 h 1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79" h="137">
                      <a:moveTo>
                        <a:pt x="112" y="0"/>
                      </a:moveTo>
                      <a:lnTo>
                        <a:pt x="47" y="4"/>
                      </a:lnTo>
                      <a:lnTo>
                        <a:pt x="24" y="16"/>
                      </a:lnTo>
                      <a:lnTo>
                        <a:pt x="24" y="27"/>
                      </a:lnTo>
                      <a:lnTo>
                        <a:pt x="0" y="39"/>
                      </a:lnTo>
                      <a:lnTo>
                        <a:pt x="19" y="56"/>
                      </a:lnTo>
                      <a:lnTo>
                        <a:pt x="44" y="59"/>
                      </a:lnTo>
                      <a:lnTo>
                        <a:pt x="49" y="83"/>
                      </a:lnTo>
                      <a:lnTo>
                        <a:pt x="57" y="96"/>
                      </a:lnTo>
                      <a:lnTo>
                        <a:pt x="87" y="96"/>
                      </a:lnTo>
                      <a:lnTo>
                        <a:pt x="109" y="127"/>
                      </a:lnTo>
                      <a:lnTo>
                        <a:pt x="129" y="137"/>
                      </a:lnTo>
                      <a:lnTo>
                        <a:pt x="148" y="124"/>
                      </a:lnTo>
                      <a:lnTo>
                        <a:pt x="146" y="107"/>
                      </a:lnTo>
                      <a:lnTo>
                        <a:pt x="175" y="107"/>
                      </a:lnTo>
                      <a:lnTo>
                        <a:pt x="179" y="81"/>
                      </a:lnTo>
                      <a:lnTo>
                        <a:pt x="175" y="84"/>
                      </a:lnTo>
                      <a:lnTo>
                        <a:pt x="172" y="51"/>
                      </a:lnTo>
                      <a:lnTo>
                        <a:pt x="154" y="49"/>
                      </a:lnTo>
                      <a:lnTo>
                        <a:pt x="151" y="60"/>
                      </a:lnTo>
                      <a:lnTo>
                        <a:pt x="127" y="37"/>
                      </a:lnTo>
                      <a:lnTo>
                        <a:pt x="121" y="9"/>
                      </a:lnTo>
                      <a:lnTo>
                        <a:pt x="113" y="7"/>
                      </a:lnTo>
                      <a:lnTo>
                        <a:pt x="112" y="0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32" name="Freeform 31"/>
                <p:cNvSpPr>
                  <a:spLocks/>
                </p:cNvSpPr>
                <p:nvPr/>
              </p:nvSpPr>
              <p:spPr bwMode="gray">
                <a:xfrm>
                  <a:off x="3146425" y="4222750"/>
                  <a:ext cx="165100" cy="120650"/>
                </a:xfrm>
                <a:custGeom>
                  <a:avLst/>
                  <a:gdLst>
                    <a:gd name="T0" fmla="*/ 38 w 104"/>
                    <a:gd name="T1" fmla="*/ 76 h 76"/>
                    <a:gd name="T2" fmla="*/ 22 w 104"/>
                    <a:gd name="T3" fmla="*/ 56 h 76"/>
                    <a:gd name="T4" fmla="*/ 22 w 104"/>
                    <a:gd name="T5" fmla="*/ 41 h 76"/>
                    <a:gd name="T6" fmla="*/ 0 w 104"/>
                    <a:gd name="T7" fmla="*/ 40 h 76"/>
                    <a:gd name="T8" fmla="*/ 0 w 104"/>
                    <a:gd name="T9" fmla="*/ 12 h 76"/>
                    <a:gd name="T10" fmla="*/ 20 w 104"/>
                    <a:gd name="T11" fmla="*/ 0 h 76"/>
                    <a:gd name="T12" fmla="*/ 39 w 104"/>
                    <a:gd name="T13" fmla="*/ 7 h 76"/>
                    <a:gd name="T14" fmla="*/ 38 w 104"/>
                    <a:gd name="T15" fmla="*/ 12 h 76"/>
                    <a:gd name="T16" fmla="*/ 67 w 104"/>
                    <a:gd name="T17" fmla="*/ 29 h 76"/>
                    <a:gd name="T18" fmla="*/ 104 w 104"/>
                    <a:gd name="T19" fmla="*/ 32 h 76"/>
                    <a:gd name="T20" fmla="*/ 98 w 104"/>
                    <a:gd name="T21" fmla="*/ 52 h 76"/>
                    <a:gd name="T22" fmla="*/ 103 w 104"/>
                    <a:gd name="T23" fmla="*/ 72 h 76"/>
                    <a:gd name="T24" fmla="*/ 38 w 104"/>
                    <a:gd name="T25" fmla="*/ 76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04" h="76">
                      <a:moveTo>
                        <a:pt x="38" y="76"/>
                      </a:moveTo>
                      <a:lnTo>
                        <a:pt x="22" y="56"/>
                      </a:lnTo>
                      <a:lnTo>
                        <a:pt x="22" y="41"/>
                      </a:lnTo>
                      <a:lnTo>
                        <a:pt x="0" y="40"/>
                      </a:lnTo>
                      <a:lnTo>
                        <a:pt x="0" y="12"/>
                      </a:lnTo>
                      <a:lnTo>
                        <a:pt x="20" y="0"/>
                      </a:lnTo>
                      <a:lnTo>
                        <a:pt x="39" y="7"/>
                      </a:lnTo>
                      <a:lnTo>
                        <a:pt x="38" y="12"/>
                      </a:lnTo>
                      <a:lnTo>
                        <a:pt x="67" y="29"/>
                      </a:lnTo>
                      <a:lnTo>
                        <a:pt x="104" y="32"/>
                      </a:lnTo>
                      <a:lnTo>
                        <a:pt x="98" y="52"/>
                      </a:lnTo>
                      <a:lnTo>
                        <a:pt x="103" y="72"/>
                      </a:lnTo>
                      <a:lnTo>
                        <a:pt x="38" y="76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33" name="Freeform 32"/>
                <p:cNvSpPr>
                  <a:spLocks/>
                </p:cNvSpPr>
                <p:nvPr/>
              </p:nvSpPr>
              <p:spPr bwMode="gray">
                <a:xfrm>
                  <a:off x="3089275" y="4286250"/>
                  <a:ext cx="117475" cy="112713"/>
                </a:xfrm>
                <a:custGeom>
                  <a:avLst/>
                  <a:gdLst>
                    <a:gd name="T0" fmla="*/ 74 w 74"/>
                    <a:gd name="T1" fmla="*/ 36 h 71"/>
                    <a:gd name="T2" fmla="*/ 51 w 74"/>
                    <a:gd name="T3" fmla="*/ 48 h 71"/>
                    <a:gd name="T4" fmla="*/ 51 w 74"/>
                    <a:gd name="T5" fmla="*/ 59 h 71"/>
                    <a:gd name="T6" fmla="*/ 27 w 74"/>
                    <a:gd name="T7" fmla="*/ 71 h 71"/>
                    <a:gd name="T8" fmla="*/ 3 w 74"/>
                    <a:gd name="T9" fmla="*/ 60 h 71"/>
                    <a:gd name="T10" fmla="*/ 0 w 74"/>
                    <a:gd name="T11" fmla="*/ 60 h 71"/>
                    <a:gd name="T12" fmla="*/ 4 w 74"/>
                    <a:gd name="T13" fmla="*/ 33 h 71"/>
                    <a:gd name="T14" fmla="*/ 20 w 74"/>
                    <a:gd name="T15" fmla="*/ 20 h 71"/>
                    <a:gd name="T16" fmla="*/ 20 w 74"/>
                    <a:gd name="T17" fmla="*/ 5 h 71"/>
                    <a:gd name="T18" fmla="*/ 36 w 74"/>
                    <a:gd name="T19" fmla="*/ 0 h 71"/>
                    <a:gd name="T20" fmla="*/ 58 w 74"/>
                    <a:gd name="T21" fmla="*/ 1 h 71"/>
                    <a:gd name="T22" fmla="*/ 58 w 74"/>
                    <a:gd name="T23" fmla="*/ 16 h 71"/>
                    <a:gd name="T24" fmla="*/ 74 w 74"/>
                    <a:gd name="T25" fmla="*/ 36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74" h="71">
                      <a:moveTo>
                        <a:pt x="74" y="36"/>
                      </a:moveTo>
                      <a:lnTo>
                        <a:pt x="51" y="48"/>
                      </a:lnTo>
                      <a:lnTo>
                        <a:pt x="51" y="59"/>
                      </a:lnTo>
                      <a:lnTo>
                        <a:pt x="27" y="71"/>
                      </a:lnTo>
                      <a:lnTo>
                        <a:pt x="3" y="60"/>
                      </a:lnTo>
                      <a:lnTo>
                        <a:pt x="0" y="60"/>
                      </a:lnTo>
                      <a:lnTo>
                        <a:pt x="4" y="33"/>
                      </a:lnTo>
                      <a:lnTo>
                        <a:pt x="20" y="20"/>
                      </a:lnTo>
                      <a:lnTo>
                        <a:pt x="20" y="5"/>
                      </a:lnTo>
                      <a:lnTo>
                        <a:pt x="36" y="0"/>
                      </a:lnTo>
                      <a:lnTo>
                        <a:pt x="58" y="1"/>
                      </a:lnTo>
                      <a:lnTo>
                        <a:pt x="58" y="16"/>
                      </a:lnTo>
                      <a:lnTo>
                        <a:pt x="74" y="36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34" name="Freeform 33"/>
                <p:cNvSpPr>
                  <a:spLocks/>
                </p:cNvSpPr>
                <p:nvPr/>
              </p:nvSpPr>
              <p:spPr bwMode="gray">
                <a:xfrm>
                  <a:off x="3086100" y="4489450"/>
                  <a:ext cx="219075" cy="177800"/>
                </a:xfrm>
                <a:custGeom>
                  <a:avLst/>
                  <a:gdLst>
                    <a:gd name="T0" fmla="*/ 86 w 138"/>
                    <a:gd name="T1" fmla="*/ 0 h 112"/>
                    <a:gd name="T2" fmla="*/ 54 w 138"/>
                    <a:gd name="T3" fmla="*/ 20 h 112"/>
                    <a:gd name="T4" fmla="*/ 38 w 138"/>
                    <a:gd name="T5" fmla="*/ 5 h 112"/>
                    <a:gd name="T6" fmla="*/ 5 w 138"/>
                    <a:gd name="T7" fmla="*/ 3 h 112"/>
                    <a:gd name="T8" fmla="*/ 0 w 138"/>
                    <a:gd name="T9" fmla="*/ 29 h 112"/>
                    <a:gd name="T10" fmla="*/ 0 w 138"/>
                    <a:gd name="T11" fmla="*/ 44 h 112"/>
                    <a:gd name="T12" fmla="*/ 13 w 138"/>
                    <a:gd name="T13" fmla="*/ 63 h 112"/>
                    <a:gd name="T14" fmla="*/ 29 w 138"/>
                    <a:gd name="T15" fmla="*/ 84 h 112"/>
                    <a:gd name="T16" fmla="*/ 30 w 138"/>
                    <a:gd name="T17" fmla="*/ 112 h 112"/>
                    <a:gd name="T18" fmla="*/ 54 w 138"/>
                    <a:gd name="T19" fmla="*/ 112 h 112"/>
                    <a:gd name="T20" fmla="*/ 66 w 138"/>
                    <a:gd name="T21" fmla="*/ 93 h 112"/>
                    <a:gd name="T22" fmla="*/ 94 w 138"/>
                    <a:gd name="T23" fmla="*/ 85 h 112"/>
                    <a:gd name="T24" fmla="*/ 101 w 138"/>
                    <a:gd name="T25" fmla="*/ 64 h 112"/>
                    <a:gd name="T26" fmla="*/ 121 w 138"/>
                    <a:gd name="T27" fmla="*/ 56 h 112"/>
                    <a:gd name="T28" fmla="*/ 138 w 138"/>
                    <a:gd name="T29" fmla="*/ 31 h 112"/>
                    <a:gd name="T30" fmla="*/ 116 w 138"/>
                    <a:gd name="T31" fmla="*/ 0 h 112"/>
                    <a:gd name="T32" fmla="*/ 86 w 138"/>
                    <a:gd name="T33" fmla="*/ 0 h 1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38" h="112">
                      <a:moveTo>
                        <a:pt x="86" y="0"/>
                      </a:moveTo>
                      <a:lnTo>
                        <a:pt x="54" y="20"/>
                      </a:lnTo>
                      <a:lnTo>
                        <a:pt x="38" y="5"/>
                      </a:lnTo>
                      <a:lnTo>
                        <a:pt x="5" y="3"/>
                      </a:lnTo>
                      <a:lnTo>
                        <a:pt x="0" y="29"/>
                      </a:lnTo>
                      <a:lnTo>
                        <a:pt x="0" y="44"/>
                      </a:lnTo>
                      <a:lnTo>
                        <a:pt x="13" y="63"/>
                      </a:lnTo>
                      <a:lnTo>
                        <a:pt x="29" y="84"/>
                      </a:lnTo>
                      <a:lnTo>
                        <a:pt x="30" y="112"/>
                      </a:lnTo>
                      <a:lnTo>
                        <a:pt x="54" y="112"/>
                      </a:lnTo>
                      <a:lnTo>
                        <a:pt x="66" y="93"/>
                      </a:lnTo>
                      <a:lnTo>
                        <a:pt x="94" y="85"/>
                      </a:lnTo>
                      <a:lnTo>
                        <a:pt x="101" y="64"/>
                      </a:lnTo>
                      <a:lnTo>
                        <a:pt x="121" y="56"/>
                      </a:lnTo>
                      <a:lnTo>
                        <a:pt x="138" y="31"/>
                      </a:lnTo>
                      <a:lnTo>
                        <a:pt x="116" y="0"/>
                      </a:lnTo>
                      <a:lnTo>
                        <a:pt x="86" y="0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35" name="Freeform 34"/>
                <p:cNvSpPr>
                  <a:spLocks/>
                </p:cNvSpPr>
                <p:nvPr/>
              </p:nvSpPr>
              <p:spPr bwMode="gray">
                <a:xfrm>
                  <a:off x="2803525" y="4418013"/>
                  <a:ext cx="330200" cy="319088"/>
                </a:xfrm>
                <a:custGeom>
                  <a:avLst/>
                  <a:gdLst>
                    <a:gd name="T0" fmla="*/ 91 w 208"/>
                    <a:gd name="T1" fmla="*/ 197 h 201"/>
                    <a:gd name="T2" fmla="*/ 106 w 208"/>
                    <a:gd name="T3" fmla="*/ 201 h 201"/>
                    <a:gd name="T4" fmla="*/ 112 w 208"/>
                    <a:gd name="T5" fmla="*/ 180 h 201"/>
                    <a:gd name="T6" fmla="*/ 159 w 208"/>
                    <a:gd name="T7" fmla="*/ 165 h 201"/>
                    <a:gd name="T8" fmla="*/ 186 w 208"/>
                    <a:gd name="T9" fmla="*/ 168 h 201"/>
                    <a:gd name="T10" fmla="*/ 208 w 208"/>
                    <a:gd name="T11" fmla="*/ 157 h 201"/>
                    <a:gd name="T12" fmla="*/ 207 w 208"/>
                    <a:gd name="T13" fmla="*/ 129 h 201"/>
                    <a:gd name="T14" fmla="*/ 191 w 208"/>
                    <a:gd name="T15" fmla="*/ 108 h 201"/>
                    <a:gd name="T16" fmla="*/ 178 w 208"/>
                    <a:gd name="T17" fmla="*/ 89 h 201"/>
                    <a:gd name="T18" fmla="*/ 178 w 208"/>
                    <a:gd name="T19" fmla="*/ 74 h 201"/>
                    <a:gd name="T20" fmla="*/ 146 w 208"/>
                    <a:gd name="T21" fmla="*/ 74 h 201"/>
                    <a:gd name="T22" fmla="*/ 134 w 208"/>
                    <a:gd name="T23" fmla="*/ 61 h 201"/>
                    <a:gd name="T24" fmla="*/ 118 w 208"/>
                    <a:gd name="T25" fmla="*/ 46 h 201"/>
                    <a:gd name="T26" fmla="*/ 100 w 208"/>
                    <a:gd name="T27" fmla="*/ 46 h 201"/>
                    <a:gd name="T28" fmla="*/ 79 w 208"/>
                    <a:gd name="T29" fmla="*/ 21 h 201"/>
                    <a:gd name="T30" fmla="*/ 64 w 208"/>
                    <a:gd name="T31" fmla="*/ 21 h 201"/>
                    <a:gd name="T32" fmla="*/ 46 w 208"/>
                    <a:gd name="T33" fmla="*/ 1 h 201"/>
                    <a:gd name="T34" fmla="*/ 35 w 208"/>
                    <a:gd name="T35" fmla="*/ 0 h 201"/>
                    <a:gd name="T36" fmla="*/ 18 w 208"/>
                    <a:gd name="T37" fmla="*/ 14 h 201"/>
                    <a:gd name="T38" fmla="*/ 3 w 208"/>
                    <a:gd name="T39" fmla="*/ 12 h 201"/>
                    <a:gd name="T40" fmla="*/ 3 w 208"/>
                    <a:gd name="T41" fmla="*/ 40 h 201"/>
                    <a:gd name="T42" fmla="*/ 0 w 208"/>
                    <a:gd name="T43" fmla="*/ 40 h 201"/>
                    <a:gd name="T44" fmla="*/ 3 w 208"/>
                    <a:gd name="T45" fmla="*/ 62 h 201"/>
                    <a:gd name="T46" fmla="*/ 47 w 208"/>
                    <a:gd name="T47" fmla="*/ 81 h 201"/>
                    <a:gd name="T48" fmla="*/ 48 w 208"/>
                    <a:gd name="T49" fmla="*/ 106 h 201"/>
                    <a:gd name="T50" fmla="*/ 35 w 208"/>
                    <a:gd name="T51" fmla="*/ 113 h 201"/>
                    <a:gd name="T52" fmla="*/ 50 w 208"/>
                    <a:gd name="T53" fmla="*/ 121 h 201"/>
                    <a:gd name="T54" fmla="*/ 76 w 208"/>
                    <a:gd name="T55" fmla="*/ 129 h 201"/>
                    <a:gd name="T56" fmla="*/ 76 w 208"/>
                    <a:gd name="T57" fmla="*/ 145 h 201"/>
                    <a:gd name="T58" fmla="*/ 80 w 208"/>
                    <a:gd name="T59" fmla="*/ 157 h 201"/>
                    <a:gd name="T60" fmla="*/ 91 w 208"/>
                    <a:gd name="T61" fmla="*/ 197 h 2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208" h="201">
                      <a:moveTo>
                        <a:pt x="91" y="197"/>
                      </a:moveTo>
                      <a:lnTo>
                        <a:pt x="106" y="201"/>
                      </a:lnTo>
                      <a:lnTo>
                        <a:pt x="112" y="180"/>
                      </a:lnTo>
                      <a:lnTo>
                        <a:pt x="159" y="165"/>
                      </a:lnTo>
                      <a:lnTo>
                        <a:pt x="186" y="168"/>
                      </a:lnTo>
                      <a:lnTo>
                        <a:pt x="208" y="157"/>
                      </a:lnTo>
                      <a:lnTo>
                        <a:pt x="207" y="129"/>
                      </a:lnTo>
                      <a:lnTo>
                        <a:pt x="191" y="108"/>
                      </a:lnTo>
                      <a:lnTo>
                        <a:pt x="178" y="89"/>
                      </a:lnTo>
                      <a:lnTo>
                        <a:pt x="178" y="74"/>
                      </a:lnTo>
                      <a:lnTo>
                        <a:pt x="146" y="74"/>
                      </a:lnTo>
                      <a:lnTo>
                        <a:pt x="134" y="61"/>
                      </a:lnTo>
                      <a:lnTo>
                        <a:pt x="118" y="46"/>
                      </a:lnTo>
                      <a:lnTo>
                        <a:pt x="100" y="46"/>
                      </a:lnTo>
                      <a:lnTo>
                        <a:pt x="79" y="21"/>
                      </a:lnTo>
                      <a:lnTo>
                        <a:pt x="64" y="21"/>
                      </a:lnTo>
                      <a:lnTo>
                        <a:pt x="46" y="1"/>
                      </a:lnTo>
                      <a:lnTo>
                        <a:pt x="35" y="0"/>
                      </a:lnTo>
                      <a:lnTo>
                        <a:pt x="18" y="14"/>
                      </a:lnTo>
                      <a:lnTo>
                        <a:pt x="3" y="12"/>
                      </a:lnTo>
                      <a:lnTo>
                        <a:pt x="3" y="40"/>
                      </a:lnTo>
                      <a:lnTo>
                        <a:pt x="0" y="40"/>
                      </a:lnTo>
                      <a:lnTo>
                        <a:pt x="3" y="62"/>
                      </a:lnTo>
                      <a:lnTo>
                        <a:pt x="47" y="81"/>
                      </a:lnTo>
                      <a:lnTo>
                        <a:pt x="48" y="106"/>
                      </a:lnTo>
                      <a:lnTo>
                        <a:pt x="35" y="113"/>
                      </a:lnTo>
                      <a:lnTo>
                        <a:pt x="50" y="121"/>
                      </a:lnTo>
                      <a:lnTo>
                        <a:pt x="76" y="129"/>
                      </a:lnTo>
                      <a:lnTo>
                        <a:pt x="76" y="145"/>
                      </a:lnTo>
                      <a:lnTo>
                        <a:pt x="80" y="157"/>
                      </a:lnTo>
                      <a:lnTo>
                        <a:pt x="91" y="197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36" name="Freeform 35"/>
                <p:cNvSpPr>
                  <a:spLocks/>
                </p:cNvSpPr>
                <p:nvPr/>
              </p:nvSpPr>
              <p:spPr bwMode="gray">
                <a:xfrm>
                  <a:off x="3016250" y="4381500"/>
                  <a:ext cx="206375" cy="153988"/>
                </a:xfrm>
                <a:custGeom>
                  <a:avLst/>
                  <a:gdLst>
                    <a:gd name="T0" fmla="*/ 49 w 130"/>
                    <a:gd name="T1" fmla="*/ 0 h 97"/>
                    <a:gd name="T2" fmla="*/ 73 w 130"/>
                    <a:gd name="T3" fmla="*/ 11 h 97"/>
                    <a:gd name="T4" fmla="*/ 92 w 130"/>
                    <a:gd name="T5" fmla="*/ 28 h 97"/>
                    <a:gd name="T6" fmla="*/ 117 w 130"/>
                    <a:gd name="T7" fmla="*/ 31 h 97"/>
                    <a:gd name="T8" fmla="*/ 122 w 130"/>
                    <a:gd name="T9" fmla="*/ 55 h 97"/>
                    <a:gd name="T10" fmla="*/ 130 w 130"/>
                    <a:gd name="T11" fmla="*/ 68 h 97"/>
                    <a:gd name="T12" fmla="*/ 98 w 130"/>
                    <a:gd name="T13" fmla="*/ 88 h 97"/>
                    <a:gd name="T14" fmla="*/ 82 w 130"/>
                    <a:gd name="T15" fmla="*/ 73 h 97"/>
                    <a:gd name="T16" fmla="*/ 49 w 130"/>
                    <a:gd name="T17" fmla="*/ 71 h 97"/>
                    <a:gd name="T18" fmla="*/ 44 w 130"/>
                    <a:gd name="T19" fmla="*/ 97 h 97"/>
                    <a:gd name="T20" fmla="*/ 12 w 130"/>
                    <a:gd name="T21" fmla="*/ 97 h 97"/>
                    <a:gd name="T22" fmla="*/ 0 w 130"/>
                    <a:gd name="T23" fmla="*/ 84 h 97"/>
                    <a:gd name="T24" fmla="*/ 14 w 130"/>
                    <a:gd name="T25" fmla="*/ 59 h 97"/>
                    <a:gd name="T26" fmla="*/ 10 w 130"/>
                    <a:gd name="T27" fmla="*/ 40 h 97"/>
                    <a:gd name="T28" fmla="*/ 20 w 130"/>
                    <a:gd name="T29" fmla="*/ 29 h 97"/>
                    <a:gd name="T30" fmla="*/ 14 w 130"/>
                    <a:gd name="T31" fmla="*/ 12 h 97"/>
                    <a:gd name="T32" fmla="*/ 34 w 130"/>
                    <a:gd name="T33" fmla="*/ 13 h 97"/>
                    <a:gd name="T34" fmla="*/ 49 w 130"/>
                    <a:gd name="T35" fmla="*/ 0 h 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30" h="97">
                      <a:moveTo>
                        <a:pt x="49" y="0"/>
                      </a:moveTo>
                      <a:lnTo>
                        <a:pt x="73" y="11"/>
                      </a:lnTo>
                      <a:lnTo>
                        <a:pt x="92" y="28"/>
                      </a:lnTo>
                      <a:lnTo>
                        <a:pt x="117" y="31"/>
                      </a:lnTo>
                      <a:lnTo>
                        <a:pt x="122" y="55"/>
                      </a:lnTo>
                      <a:lnTo>
                        <a:pt x="130" y="68"/>
                      </a:lnTo>
                      <a:lnTo>
                        <a:pt x="98" y="88"/>
                      </a:lnTo>
                      <a:lnTo>
                        <a:pt x="82" y="73"/>
                      </a:lnTo>
                      <a:lnTo>
                        <a:pt x="49" y="71"/>
                      </a:lnTo>
                      <a:lnTo>
                        <a:pt x="44" y="97"/>
                      </a:lnTo>
                      <a:lnTo>
                        <a:pt x="12" y="97"/>
                      </a:lnTo>
                      <a:lnTo>
                        <a:pt x="0" y="84"/>
                      </a:lnTo>
                      <a:lnTo>
                        <a:pt x="14" y="59"/>
                      </a:lnTo>
                      <a:lnTo>
                        <a:pt x="10" y="40"/>
                      </a:lnTo>
                      <a:lnTo>
                        <a:pt x="20" y="29"/>
                      </a:lnTo>
                      <a:lnTo>
                        <a:pt x="14" y="12"/>
                      </a:lnTo>
                      <a:lnTo>
                        <a:pt x="34" y="13"/>
                      </a:lnTo>
                      <a:lnTo>
                        <a:pt x="49" y="0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37" name="Freeform 36"/>
                <p:cNvSpPr>
                  <a:spLocks/>
                </p:cNvSpPr>
                <p:nvPr/>
              </p:nvSpPr>
              <p:spPr bwMode="gray">
                <a:xfrm>
                  <a:off x="2611438" y="4456113"/>
                  <a:ext cx="319087" cy="295275"/>
                </a:xfrm>
                <a:custGeom>
                  <a:avLst/>
                  <a:gdLst>
                    <a:gd name="T0" fmla="*/ 25 w 201"/>
                    <a:gd name="T1" fmla="*/ 174 h 186"/>
                    <a:gd name="T2" fmla="*/ 12 w 201"/>
                    <a:gd name="T3" fmla="*/ 161 h 186"/>
                    <a:gd name="T4" fmla="*/ 19 w 201"/>
                    <a:gd name="T5" fmla="*/ 136 h 186"/>
                    <a:gd name="T6" fmla="*/ 0 w 201"/>
                    <a:gd name="T7" fmla="*/ 117 h 186"/>
                    <a:gd name="T8" fmla="*/ 7 w 201"/>
                    <a:gd name="T9" fmla="*/ 112 h 186"/>
                    <a:gd name="T10" fmla="*/ 47 w 201"/>
                    <a:gd name="T11" fmla="*/ 109 h 186"/>
                    <a:gd name="T12" fmla="*/ 41 w 201"/>
                    <a:gd name="T13" fmla="*/ 85 h 186"/>
                    <a:gd name="T14" fmla="*/ 49 w 201"/>
                    <a:gd name="T15" fmla="*/ 62 h 186"/>
                    <a:gd name="T16" fmla="*/ 61 w 201"/>
                    <a:gd name="T17" fmla="*/ 58 h 186"/>
                    <a:gd name="T18" fmla="*/ 52 w 201"/>
                    <a:gd name="T19" fmla="*/ 32 h 186"/>
                    <a:gd name="T20" fmla="*/ 64 w 201"/>
                    <a:gd name="T21" fmla="*/ 21 h 186"/>
                    <a:gd name="T22" fmla="*/ 61 w 201"/>
                    <a:gd name="T23" fmla="*/ 4 h 186"/>
                    <a:gd name="T24" fmla="*/ 95 w 201"/>
                    <a:gd name="T25" fmla="*/ 0 h 186"/>
                    <a:gd name="T26" fmla="*/ 105 w 201"/>
                    <a:gd name="T27" fmla="*/ 12 h 186"/>
                    <a:gd name="T28" fmla="*/ 121 w 201"/>
                    <a:gd name="T29" fmla="*/ 16 h 186"/>
                    <a:gd name="T30" fmla="*/ 124 w 201"/>
                    <a:gd name="T31" fmla="*/ 38 h 186"/>
                    <a:gd name="T32" fmla="*/ 168 w 201"/>
                    <a:gd name="T33" fmla="*/ 57 h 186"/>
                    <a:gd name="T34" fmla="*/ 169 w 201"/>
                    <a:gd name="T35" fmla="*/ 82 h 186"/>
                    <a:gd name="T36" fmla="*/ 156 w 201"/>
                    <a:gd name="T37" fmla="*/ 89 h 186"/>
                    <a:gd name="T38" fmla="*/ 171 w 201"/>
                    <a:gd name="T39" fmla="*/ 97 h 186"/>
                    <a:gd name="T40" fmla="*/ 197 w 201"/>
                    <a:gd name="T41" fmla="*/ 105 h 186"/>
                    <a:gd name="T42" fmla="*/ 197 w 201"/>
                    <a:gd name="T43" fmla="*/ 121 h 186"/>
                    <a:gd name="T44" fmla="*/ 201 w 201"/>
                    <a:gd name="T45" fmla="*/ 133 h 186"/>
                    <a:gd name="T46" fmla="*/ 153 w 201"/>
                    <a:gd name="T47" fmla="*/ 158 h 186"/>
                    <a:gd name="T48" fmla="*/ 151 w 201"/>
                    <a:gd name="T49" fmla="*/ 182 h 186"/>
                    <a:gd name="T50" fmla="*/ 135 w 201"/>
                    <a:gd name="T51" fmla="*/ 186 h 186"/>
                    <a:gd name="T52" fmla="*/ 124 w 201"/>
                    <a:gd name="T53" fmla="*/ 165 h 186"/>
                    <a:gd name="T54" fmla="*/ 91 w 201"/>
                    <a:gd name="T55" fmla="*/ 172 h 186"/>
                    <a:gd name="T56" fmla="*/ 91 w 201"/>
                    <a:gd name="T57" fmla="*/ 180 h 186"/>
                    <a:gd name="T58" fmla="*/ 75 w 201"/>
                    <a:gd name="T59" fmla="*/ 180 h 186"/>
                    <a:gd name="T60" fmla="*/ 67 w 201"/>
                    <a:gd name="T61" fmla="*/ 154 h 186"/>
                    <a:gd name="T62" fmla="*/ 60 w 201"/>
                    <a:gd name="T63" fmla="*/ 168 h 186"/>
                    <a:gd name="T64" fmla="*/ 31 w 201"/>
                    <a:gd name="T65" fmla="*/ 170 h 186"/>
                    <a:gd name="T66" fmla="*/ 25 w 201"/>
                    <a:gd name="T67" fmla="*/ 174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201" h="186">
                      <a:moveTo>
                        <a:pt x="25" y="174"/>
                      </a:moveTo>
                      <a:lnTo>
                        <a:pt x="12" y="161"/>
                      </a:lnTo>
                      <a:lnTo>
                        <a:pt x="19" y="136"/>
                      </a:lnTo>
                      <a:lnTo>
                        <a:pt x="0" y="117"/>
                      </a:lnTo>
                      <a:lnTo>
                        <a:pt x="7" y="112"/>
                      </a:lnTo>
                      <a:lnTo>
                        <a:pt x="47" y="109"/>
                      </a:lnTo>
                      <a:lnTo>
                        <a:pt x="41" y="85"/>
                      </a:lnTo>
                      <a:lnTo>
                        <a:pt x="49" y="62"/>
                      </a:lnTo>
                      <a:lnTo>
                        <a:pt x="61" y="58"/>
                      </a:lnTo>
                      <a:lnTo>
                        <a:pt x="52" y="32"/>
                      </a:lnTo>
                      <a:lnTo>
                        <a:pt x="64" y="21"/>
                      </a:lnTo>
                      <a:lnTo>
                        <a:pt x="61" y="4"/>
                      </a:lnTo>
                      <a:lnTo>
                        <a:pt x="95" y="0"/>
                      </a:lnTo>
                      <a:lnTo>
                        <a:pt x="105" y="12"/>
                      </a:lnTo>
                      <a:lnTo>
                        <a:pt x="121" y="16"/>
                      </a:lnTo>
                      <a:lnTo>
                        <a:pt x="124" y="38"/>
                      </a:lnTo>
                      <a:lnTo>
                        <a:pt x="168" y="57"/>
                      </a:lnTo>
                      <a:lnTo>
                        <a:pt x="169" y="82"/>
                      </a:lnTo>
                      <a:lnTo>
                        <a:pt x="156" y="89"/>
                      </a:lnTo>
                      <a:lnTo>
                        <a:pt x="171" y="97"/>
                      </a:lnTo>
                      <a:lnTo>
                        <a:pt x="197" y="105"/>
                      </a:lnTo>
                      <a:lnTo>
                        <a:pt x="197" y="121"/>
                      </a:lnTo>
                      <a:lnTo>
                        <a:pt x="201" y="133"/>
                      </a:lnTo>
                      <a:lnTo>
                        <a:pt x="153" y="158"/>
                      </a:lnTo>
                      <a:lnTo>
                        <a:pt x="151" y="182"/>
                      </a:lnTo>
                      <a:lnTo>
                        <a:pt x="135" y="186"/>
                      </a:lnTo>
                      <a:lnTo>
                        <a:pt x="124" y="165"/>
                      </a:lnTo>
                      <a:lnTo>
                        <a:pt x="91" y="172"/>
                      </a:lnTo>
                      <a:lnTo>
                        <a:pt x="91" y="180"/>
                      </a:lnTo>
                      <a:lnTo>
                        <a:pt x="75" y="180"/>
                      </a:lnTo>
                      <a:lnTo>
                        <a:pt x="67" y="154"/>
                      </a:lnTo>
                      <a:lnTo>
                        <a:pt x="60" y="168"/>
                      </a:lnTo>
                      <a:lnTo>
                        <a:pt x="31" y="170"/>
                      </a:lnTo>
                      <a:lnTo>
                        <a:pt x="25" y="174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38" name="Freeform 37"/>
                <p:cNvSpPr>
                  <a:spLocks/>
                </p:cNvSpPr>
                <p:nvPr/>
              </p:nvSpPr>
              <p:spPr bwMode="gray">
                <a:xfrm>
                  <a:off x="2511425" y="4700588"/>
                  <a:ext cx="284162" cy="298450"/>
                </a:xfrm>
                <a:custGeom>
                  <a:avLst/>
                  <a:gdLst>
                    <a:gd name="T0" fmla="*/ 70 w 134"/>
                    <a:gd name="T1" fmla="*/ 12 h 141"/>
                    <a:gd name="T2" fmla="*/ 92 w 134"/>
                    <a:gd name="T3" fmla="*/ 10 h 141"/>
                    <a:gd name="T4" fmla="*/ 97 w 134"/>
                    <a:gd name="T5" fmla="*/ 0 h 141"/>
                    <a:gd name="T6" fmla="*/ 103 w 134"/>
                    <a:gd name="T7" fmla="*/ 19 h 141"/>
                    <a:gd name="T8" fmla="*/ 115 w 134"/>
                    <a:gd name="T9" fmla="*/ 19 h 141"/>
                    <a:gd name="T10" fmla="*/ 114 w 134"/>
                    <a:gd name="T11" fmla="*/ 24 h 141"/>
                    <a:gd name="T12" fmla="*/ 116 w 134"/>
                    <a:gd name="T13" fmla="*/ 54 h 141"/>
                    <a:gd name="T14" fmla="*/ 134 w 134"/>
                    <a:gd name="T15" fmla="*/ 64 h 141"/>
                    <a:gd name="T16" fmla="*/ 122 w 134"/>
                    <a:gd name="T17" fmla="*/ 71 h 141"/>
                    <a:gd name="T18" fmla="*/ 120 w 134"/>
                    <a:gd name="T19" fmla="*/ 92 h 141"/>
                    <a:gd name="T20" fmla="*/ 103 w 134"/>
                    <a:gd name="T21" fmla="*/ 93 h 141"/>
                    <a:gd name="T22" fmla="*/ 107 w 134"/>
                    <a:gd name="T23" fmla="*/ 108 h 141"/>
                    <a:gd name="T24" fmla="*/ 94 w 134"/>
                    <a:gd name="T25" fmla="*/ 119 h 141"/>
                    <a:gd name="T26" fmla="*/ 104 w 134"/>
                    <a:gd name="T27" fmla="*/ 125 h 141"/>
                    <a:gd name="T28" fmla="*/ 72 w 134"/>
                    <a:gd name="T29" fmla="*/ 141 h 141"/>
                    <a:gd name="T30" fmla="*/ 66 w 134"/>
                    <a:gd name="T31" fmla="*/ 126 h 141"/>
                    <a:gd name="T32" fmla="*/ 55 w 134"/>
                    <a:gd name="T33" fmla="*/ 123 h 141"/>
                    <a:gd name="T34" fmla="*/ 49 w 134"/>
                    <a:gd name="T35" fmla="*/ 99 h 141"/>
                    <a:gd name="T36" fmla="*/ 44 w 134"/>
                    <a:gd name="T37" fmla="*/ 83 h 141"/>
                    <a:gd name="T38" fmla="*/ 35 w 134"/>
                    <a:gd name="T39" fmla="*/ 68 h 141"/>
                    <a:gd name="T40" fmla="*/ 21 w 134"/>
                    <a:gd name="T41" fmla="*/ 48 h 141"/>
                    <a:gd name="T42" fmla="*/ 12 w 134"/>
                    <a:gd name="T43" fmla="*/ 43 h 141"/>
                    <a:gd name="T44" fmla="*/ 0 w 134"/>
                    <a:gd name="T45" fmla="*/ 23 h 141"/>
                    <a:gd name="T46" fmla="*/ 12 w 134"/>
                    <a:gd name="T47" fmla="*/ 15 h 141"/>
                    <a:gd name="T48" fmla="*/ 20 w 134"/>
                    <a:gd name="T49" fmla="*/ 30 h 141"/>
                    <a:gd name="T50" fmla="*/ 27 w 134"/>
                    <a:gd name="T51" fmla="*/ 31 h 141"/>
                    <a:gd name="T52" fmla="*/ 23 w 134"/>
                    <a:gd name="T53" fmla="*/ 43 h 141"/>
                    <a:gd name="T54" fmla="*/ 32 w 134"/>
                    <a:gd name="T55" fmla="*/ 42 h 141"/>
                    <a:gd name="T56" fmla="*/ 45 w 134"/>
                    <a:gd name="T57" fmla="*/ 52 h 141"/>
                    <a:gd name="T58" fmla="*/ 80 w 134"/>
                    <a:gd name="T59" fmla="*/ 30 h 141"/>
                    <a:gd name="T60" fmla="*/ 78 w 134"/>
                    <a:gd name="T61" fmla="*/ 21 h 141"/>
                    <a:gd name="T62" fmla="*/ 64 w 134"/>
                    <a:gd name="T63" fmla="*/ 22 h 141"/>
                    <a:gd name="T64" fmla="*/ 66 w 134"/>
                    <a:gd name="T65" fmla="*/ 15 h 141"/>
                    <a:gd name="T66" fmla="*/ 70 w 134"/>
                    <a:gd name="T67" fmla="*/ 12 h 1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134" h="141">
                      <a:moveTo>
                        <a:pt x="70" y="12"/>
                      </a:moveTo>
                      <a:cubicBezTo>
                        <a:pt x="92" y="10"/>
                        <a:pt x="92" y="10"/>
                        <a:pt x="92" y="10"/>
                      </a:cubicBezTo>
                      <a:cubicBezTo>
                        <a:pt x="97" y="0"/>
                        <a:pt x="97" y="0"/>
                        <a:pt x="97" y="0"/>
                      </a:cubicBezTo>
                      <a:cubicBezTo>
                        <a:pt x="103" y="19"/>
                        <a:pt x="103" y="19"/>
                        <a:pt x="103" y="19"/>
                      </a:cubicBezTo>
                      <a:cubicBezTo>
                        <a:pt x="115" y="19"/>
                        <a:pt x="115" y="19"/>
                        <a:pt x="115" y="19"/>
                      </a:cubicBezTo>
                      <a:cubicBezTo>
                        <a:pt x="114" y="24"/>
                        <a:pt x="114" y="24"/>
                        <a:pt x="114" y="24"/>
                      </a:cubicBezTo>
                      <a:cubicBezTo>
                        <a:pt x="116" y="54"/>
                        <a:pt x="116" y="54"/>
                        <a:pt x="116" y="54"/>
                      </a:cubicBezTo>
                      <a:cubicBezTo>
                        <a:pt x="134" y="64"/>
                        <a:pt x="134" y="64"/>
                        <a:pt x="134" y="64"/>
                      </a:cubicBezTo>
                      <a:cubicBezTo>
                        <a:pt x="122" y="71"/>
                        <a:pt x="122" y="71"/>
                        <a:pt x="122" y="71"/>
                      </a:cubicBezTo>
                      <a:cubicBezTo>
                        <a:pt x="120" y="92"/>
                        <a:pt x="120" y="92"/>
                        <a:pt x="120" y="92"/>
                      </a:cubicBezTo>
                      <a:cubicBezTo>
                        <a:pt x="103" y="93"/>
                        <a:pt x="103" y="93"/>
                        <a:pt x="103" y="93"/>
                      </a:cubicBezTo>
                      <a:cubicBezTo>
                        <a:pt x="107" y="108"/>
                        <a:pt x="107" y="108"/>
                        <a:pt x="107" y="108"/>
                      </a:cubicBezTo>
                      <a:cubicBezTo>
                        <a:pt x="94" y="119"/>
                        <a:pt x="94" y="119"/>
                        <a:pt x="94" y="119"/>
                      </a:cubicBezTo>
                      <a:cubicBezTo>
                        <a:pt x="104" y="125"/>
                        <a:pt x="104" y="125"/>
                        <a:pt x="104" y="125"/>
                      </a:cubicBezTo>
                      <a:cubicBezTo>
                        <a:pt x="72" y="141"/>
                        <a:pt x="72" y="141"/>
                        <a:pt x="72" y="141"/>
                      </a:cubicBezTo>
                      <a:cubicBezTo>
                        <a:pt x="66" y="126"/>
                        <a:pt x="66" y="126"/>
                        <a:pt x="66" y="126"/>
                      </a:cubicBezTo>
                      <a:cubicBezTo>
                        <a:pt x="55" y="123"/>
                        <a:pt x="55" y="123"/>
                        <a:pt x="55" y="123"/>
                      </a:cubicBezTo>
                      <a:cubicBezTo>
                        <a:pt x="49" y="99"/>
                        <a:pt x="49" y="99"/>
                        <a:pt x="49" y="99"/>
                      </a:cubicBezTo>
                      <a:cubicBezTo>
                        <a:pt x="44" y="83"/>
                        <a:pt x="44" y="83"/>
                        <a:pt x="44" y="83"/>
                      </a:cubicBezTo>
                      <a:cubicBezTo>
                        <a:pt x="35" y="68"/>
                        <a:pt x="35" y="68"/>
                        <a:pt x="35" y="68"/>
                      </a:cubicBezTo>
                      <a:cubicBezTo>
                        <a:pt x="21" y="48"/>
                        <a:pt x="21" y="48"/>
                        <a:pt x="21" y="48"/>
                      </a:cubicBezTo>
                      <a:cubicBezTo>
                        <a:pt x="12" y="43"/>
                        <a:pt x="12" y="43"/>
                        <a:pt x="12" y="43"/>
                      </a:cubicBezTo>
                      <a:cubicBezTo>
                        <a:pt x="0" y="23"/>
                        <a:pt x="0" y="23"/>
                        <a:pt x="0" y="23"/>
                      </a:cubicBezTo>
                      <a:cubicBezTo>
                        <a:pt x="12" y="15"/>
                        <a:pt x="12" y="15"/>
                        <a:pt x="12" y="15"/>
                      </a:cubicBezTo>
                      <a:cubicBezTo>
                        <a:pt x="20" y="30"/>
                        <a:pt x="20" y="30"/>
                        <a:pt x="20" y="30"/>
                      </a:cubicBezTo>
                      <a:cubicBezTo>
                        <a:pt x="27" y="31"/>
                        <a:pt x="27" y="31"/>
                        <a:pt x="27" y="31"/>
                      </a:cubicBezTo>
                      <a:cubicBezTo>
                        <a:pt x="23" y="43"/>
                        <a:pt x="23" y="43"/>
                        <a:pt x="23" y="43"/>
                      </a:cubicBezTo>
                      <a:cubicBezTo>
                        <a:pt x="32" y="42"/>
                        <a:pt x="32" y="42"/>
                        <a:pt x="32" y="42"/>
                      </a:cubicBezTo>
                      <a:cubicBezTo>
                        <a:pt x="45" y="52"/>
                        <a:pt x="45" y="52"/>
                        <a:pt x="45" y="52"/>
                      </a:cubicBezTo>
                      <a:cubicBezTo>
                        <a:pt x="80" y="30"/>
                        <a:pt x="80" y="30"/>
                        <a:pt x="80" y="30"/>
                      </a:cubicBezTo>
                      <a:cubicBezTo>
                        <a:pt x="78" y="21"/>
                        <a:pt x="78" y="21"/>
                        <a:pt x="78" y="21"/>
                      </a:cubicBezTo>
                      <a:cubicBezTo>
                        <a:pt x="78" y="21"/>
                        <a:pt x="67" y="22"/>
                        <a:pt x="64" y="22"/>
                      </a:cubicBezTo>
                      <a:cubicBezTo>
                        <a:pt x="66" y="15"/>
                        <a:pt x="66" y="15"/>
                        <a:pt x="66" y="15"/>
                      </a:cubicBezTo>
                      <a:lnTo>
                        <a:pt x="70" y="12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39" name="Freeform 38"/>
                <p:cNvSpPr>
                  <a:spLocks/>
                </p:cNvSpPr>
                <p:nvPr/>
              </p:nvSpPr>
              <p:spPr bwMode="gray">
                <a:xfrm>
                  <a:off x="2922588" y="3255963"/>
                  <a:ext cx="395287" cy="482600"/>
                </a:xfrm>
                <a:custGeom>
                  <a:avLst/>
                  <a:gdLst>
                    <a:gd name="T0" fmla="*/ 0 w 249"/>
                    <a:gd name="T1" fmla="*/ 168 h 304"/>
                    <a:gd name="T2" fmla="*/ 79 w 249"/>
                    <a:gd name="T3" fmla="*/ 161 h 304"/>
                    <a:gd name="T4" fmla="*/ 89 w 249"/>
                    <a:gd name="T5" fmla="*/ 105 h 304"/>
                    <a:gd name="T6" fmla="*/ 108 w 249"/>
                    <a:gd name="T7" fmla="*/ 101 h 304"/>
                    <a:gd name="T8" fmla="*/ 132 w 249"/>
                    <a:gd name="T9" fmla="*/ 72 h 304"/>
                    <a:gd name="T10" fmla="*/ 147 w 249"/>
                    <a:gd name="T11" fmla="*/ 42 h 304"/>
                    <a:gd name="T12" fmla="*/ 179 w 249"/>
                    <a:gd name="T13" fmla="*/ 30 h 304"/>
                    <a:gd name="T14" fmla="*/ 200 w 249"/>
                    <a:gd name="T15" fmla="*/ 0 h 304"/>
                    <a:gd name="T16" fmla="*/ 224 w 249"/>
                    <a:gd name="T17" fmla="*/ 24 h 304"/>
                    <a:gd name="T18" fmla="*/ 217 w 249"/>
                    <a:gd name="T19" fmla="*/ 46 h 304"/>
                    <a:gd name="T20" fmla="*/ 229 w 249"/>
                    <a:gd name="T21" fmla="*/ 56 h 304"/>
                    <a:gd name="T22" fmla="*/ 236 w 249"/>
                    <a:gd name="T23" fmla="*/ 40 h 304"/>
                    <a:gd name="T24" fmla="*/ 245 w 249"/>
                    <a:gd name="T25" fmla="*/ 46 h 304"/>
                    <a:gd name="T26" fmla="*/ 241 w 249"/>
                    <a:gd name="T27" fmla="*/ 52 h 304"/>
                    <a:gd name="T28" fmla="*/ 249 w 249"/>
                    <a:gd name="T29" fmla="*/ 96 h 304"/>
                    <a:gd name="T30" fmla="*/ 215 w 249"/>
                    <a:gd name="T31" fmla="*/ 122 h 304"/>
                    <a:gd name="T32" fmla="*/ 203 w 249"/>
                    <a:gd name="T33" fmla="*/ 164 h 304"/>
                    <a:gd name="T34" fmla="*/ 217 w 249"/>
                    <a:gd name="T35" fmla="*/ 188 h 304"/>
                    <a:gd name="T36" fmla="*/ 197 w 249"/>
                    <a:gd name="T37" fmla="*/ 205 h 304"/>
                    <a:gd name="T38" fmla="*/ 185 w 249"/>
                    <a:gd name="T39" fmla="*/ 206 h 304"/>
                    <a:gd name="T40" fmla="*/ 167 w 249"/>
                    <a:gd name="T41" fmla="*/ 233 h 304"/>
                    <a:gd name="T42" fmla="*/ 179 w 249"/>
                    <a:gd name="T43" fmla="*/ 254 h 304"/>
                    <a:gd name="T44" fmla="*/ 167 w 249"/>
                    <a:gd name="T45" fmla="*/ 286 h 304"/>
                    <a:gd name="T46" fmla="*/ 147 w 249"/>
                    <a:gd name="T47" fmla="*/ 304 h 304"/>
                    <a:gd name="T48" fmla="*/ 115 w 249"/>
                    <a:gd name="T49" fmla="*/ 277 h 304"/>
                    <a:gd name="T50" fmla="*/ 100 w 249"/>
                    <a:gd name="T51" fmla="*/ 280 h 304"/>
                    <a:gd name="T52" fmla="*/ 64 w 249"/>
                    <a:gd name="T53" fmla="*/ 244 h 304"/>
                    <a:gd name="T54" fmla="*/ 59 w 249"/>
                    <a:gd name="T55" fmla="*/ 254 h 304"/>
                    <a:gd name="T56" fmla="*/ 31 w 249"/>
                    <a:gd name="T57" fmla="*/ 253 h 304"/>
                    <a:gd name="T58" fmla="*/ 0 w 249"/>
                    <a:gd name="T59" fmla="*/ 168 h 3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249" h="304">
                      <a:moveTo>
                        <a:pt x="0" y="168"/>
                      </a:moveTo>
                      <a:lnTo>
                        <a:pt x="79" y="161"/>
                      </a:lnTo>
                      <a:lnTo>
                        <a:pt x="89" y="105"/>
                      </a:lnTo>
                      <a:lnTo>
                        <a:pt x="108" y="101"/>
                      </a:lnTo>
                      <a:lnTo>
                        <a:pt x="132" y="72"/>
                      </a:lnTo>
                      <a:lnTo>
                        <a:pt x="147" y="42"/>
                      </a:lnTo>
                      <a:lnTo>
                        <a:pt x="179" y="30"/>
                      </a:lnTo>
                      <a:lnTo>
                        <a:pt x="200" y="0"/>
                      </a:lnTo>
                      <a:lnTo>
                        <a:pt x="224" y="24"/>
                      </a:lnTo>
                      <a:lnTo>
                        <a:pt x="217" y="46"/>
                      </a:lnTo>
                      <a:lnTo>
                        <a:pt x="229" y="56"/>
                      </a:lnTo>
                      <a:lnTo>
                        <a:pt x="236" y="40"/>
                      </a:lnTo>
                      <a:lnTo>
                        <a:pt x="245" y="46"/>
                      </a:lnTo>
                      <a:lnTo>
                        <a:pt x="241" y="52"/>
                      </a:lnTo>
                      <a:lnTo>
                        <a:pt x="249" y="96"/>
                      </a:lnTo>
                      <a:lnTo>
                        <a:pt x="215" y="122"/>
                      </a:lnTo>
                      <a:lnTo>
                        <a:pt x="203" y="164"/>
                      </a:lnTo>
                      <a:lnTo>
                        <a:pt x="217" y="188"/>
                      </a:lnTo>
                      <a:lnTo>
                        <a:pt x="197" y="205"/>
                      </a:lnTo>
                      <a:lnTo>
                        <a:pt x="185" y="206"/>
                      </a:lnTo>
                      <a:lnTo>
                        <a:pt x="167" y="233"/>
                      </a:lnTo>
                      <a:lnTo>
                        <a:pt x="179" y="254"/>
                      </a:lnTo>
                      <a:lnTo>
                        <a:pt x="167" y="286"/>
                      </a:lnTo>
                      <a:lnTo>
                        <a:pt x="147" y="304"/>
                      </a:lnTo>
                      <a:lnTo>
                        <a:pt x="115" y="277"/>
                      </a:lnTo>
                      <a:lnTo>
                        <a:pt x="100" y="280"/>
                      </a:lnTo>
                      <a:lnTo>
                        <a:pt x="64" y="244"/>
                      </a:lnTo>
                      <a:lnTo>
                        <a:pt x="59" y="254"/>
                      </a:lnTo>
                      <a:lnTo>
                        <a:pt x="31" y="253"/>
                      </a:lnTo>
                      <a:lnTo>
                        <a:pt x="0" y="168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41" name="Freeform 40"/>
                <p:cNvSpPr>
                  <a:spLocks/>
                </p:cNvSpPr>
                <p:nvPr/>
              </p:nvSpPr>
              <p:spPr bwMode="gray">
                <a:xfrm>
                  <a:off x="2749550" y="3522663"/>
                  <a:ext cx="331787" cy="269875"/>
                </a:xfrm>
                <a:custGeom>
                  <a:avLst/>
                  <a:gdLst>
                    <a:gd name="T0" fmla="*/ 209 w 209"/>
                    <a:gd name="T1" fmla="*/ 112 h 170"/>
                    <a:gd name="T2" fmla="*/ 157 w 209"/>
                    <a:gd name="T3" fmla="*/ 145 h 170"/>
                    <a:gd name="T4" fmla="*/ 154 w 209"/>
                    <a:gd name="T5" fmla="*/ 168 h 170"/>
                    <a:gd name="T6" fmla="*/ 124 w 209"/>
                    <a:gd name="T7" fmla="*/ 170 h 170"/>
                    <a:gd name="T8" fmla="*/ 105 w 209"/>
                    <a:gd name="T9" fmla="*/ 156 h 170"/>
                    <a:gd name="T10" fmla="*/ 102 w 209"/>
                    <a:gd name="T11" fmla="*/ 134 h 170"/>
                    <a:gd name="T12" fmla="*/ 81 w 209"/>
                    <a:gd name="T13" fmla="*/ 126 h 170"/>
                    <a:gd name="T14" fmla="*/ 73 w 209"/>
                    <a:gd name="T15" fmla="*/ 104 h 170"/>
                    <a:gd name="T16" fmla="*/ 42 w 209"/>
                    <a:gd name="T17" fmla="*/ 109 h 170"/>
                    <a:gd name="T18" fmla="*/ 26 w 209"/>
                    <a:gd name="T19" fmla="*/ 98 h 170"/>
                    <a:gd name="T20" fmla="*/ 13 w 209"/>
                    <a:gd name="T21" fmla="*/ 97 h 170"/>
                    <a:gd name="T22" fmla="*/ 0 w 209"/>
                    <a:gd name="T23" fmla="*/ 42 h 170"/>
                    <a:gd name="T24" fmla="*/ 21 w 209"/>
                    <a:gd name="T25" fmla="*/ 29 h 170"/>
                    <a:gd name="T26" fmla="*/ 45 w 209"/>
                    <a:gd name="T27" fmla="*/ 34 h 170"/>
                    <a:gd name="T28" fmla="*/ 66 w 209"/>
                    <a:gd name="T29" fmla="*/ 61 h 170"/>
                    <a:gd name="T30" fmla="*/ 69 w 209"/>
                    <a:gd name="T31" fmla="*/ 28 h 170"/>
                    <a:gd name="T32" fmla="*/ 69 w 209"/>
                    <a:gd name="T33" fmla="*/ 2 h 170"/>
                    <a:gd name="T34" fmla="*/ 109 w 209"/>
                    <a:gd name="T35" fmla="*/ 0 h 170"/>
                    <a:gd name="T36" fmla="*/ 140 w 209"/>
                    <a:gd name="T37" fmla="*/ 85 h 170"/>
                    <a:gd name="T38" fmla="*/ 168 w 209"/>
                    <a:gd name="T39" fmla="*/ 86 h 170"/>
                    <a:gd name="T40" fmla="*/ 173 w 209"/>
                    <a:gd name="T41" fmla="*/ 76 h 170"/>
                    <a:gd name="T42" fmla="*/ 209 w 209"/>
                    <a:gd name="T43" fmla="*/ 112 h 1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209" h="170">
                      <a:moveTo>
                        <a:pt x="209" y="112"/>
                      </a:moveTo>
                      <a:lnTo>
                        <a:pt x="157" y="145"/>
                      </a:lnTo>
                      <a:lnTo>
                        <a:pt x="154" y="168"/>
                      </a:lnTo>
                      <a:lnTo>
                        <a:pt x="124" y="170"/>
                      </a:lnTo>
                      <a:lnTo>
                        <a:pt x="105" y="156"/>
                      </a:lnTo>
                      <a:lnTo>
                        <a:pt x="102" y="134"/>
                      </a:lnTo>
                      <a:lnTo>
                        <a:pt x="81" y="126"/>
                      </a:lnTo>
                      <a:lnTo>
                        <a:pt x="73" y="104"/>
                      </a:lnTo>
                      <a:lnTo>
                        <a:pt x="42" y="109"/>
                      </a:lnTo>
                      <a:lnTo>
                        <a:pt x="26" y="98"/>
                      </a:lnTo>
                      <a:lnTo>
                        <a:pt x="13" y="97"/>
                      </a:lnTo>
                      <a:lnTo>
                        <a:pt x="0" y="42"/>
                      </a:lnTo>
                      <a:lnTo>
                        <a:pt x="21" y="29"/>
                      </a:lnTo>
                      <a:lnTo>
                        <a:pt x="45" y="34"/>
                      </a:lnTo>
                      <a:lnTo>
                        <a:pt x="66" y="61"/>
                      </a:lnTo>
                      <a:lnTo>
                        <a:pt x="69" y="28"/>
                      </a:lnTo>
                      <a:lnTo>
                        <a:pt x="69" y="2"/>
                      </a:lnTo>
                      <a:lnTo>
                        <a:pt x="109" y="0"/>
                      </a:lnTo>
                      <a:lnTo>
                        <a:pt x="140" y="85"/>
                      </a:lnTo>
                      <a:lnTo>
                        <a:pt x="168" y="86"/>
                      </a:lnTo>
                      <a:lnTo>
                        <a:pt x="173" y="76"/>
                      </a:lnTo>
                      <a:lnTo>
                        <a:pt x="209" y="112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42" name="Freeform 41"/>
                <p:cNvSpPr>
                  <a:spLocks/>
                </p:cNvSpPr>
                <p:nvPr/>
              </p:nvSpPr>
              <p:spPr bwMode="gray">
                <a:xfrm>
                  <a:off x="2578100" y="3586163"/>
                  <a:ext cx="192087" cy="280988"/>
                </a:xfrm>
                <a:custGeom>
                  <a:avLst/>
                  <a:gdLst>
                    <a:gd name="T0" fmla="*/ 80 w 121"/>
                    <a:gd name="T1" fmla="*/ 132 h 177"/>
                    <a:gd name="T2" fmla="*/ 73 w 121"/>
                    <a:gd name="T3" fmla="*/ 142 h 177"/>
                    <a:gd name="T4" fmla="*/ 70 w 121"/>
                    <a:gd name="T5" fmla="*/ 162 h 177"/>
                    <a:gd name="T6" fmla="*/ 53 w 121"/>
                    <a:gd name="T7" fmla="*/ 177 h 177"/>
                    <a:gd name="T8" fmla="*/ 37 w 121"/>
                    <a:gd name="T9" fmla="*/ 173 h 177"/>
                    <a:gd name="T10" fmla="*/ 26 w 121"/>
                    <a:gd name="T11" fmla="*/ 148 h 177"/>
                    <a:gd name="T12" fmla="*/ 12 w 121"/>
                    <a:gd name="T13" fmla="*/ 142 h 177"/>
                    <a:gd name="T14" fmla="*/ 17 w 121"/>
                    <a:gd name="T15" fmla="*/ 128 h 177"/>
                    <a:gd name="T16" fmla="*/ 0 w 121"/>
                    <a:gd name="T17" fmla="*/ 104 h 177"/>
                    <a:gd name="T18" fmla="*/ 2 w 121"/>
                    <a:gd name="T19" fmla="*/ 100 h 177"/>
                    <a:gd name="T20" fmla="*/ 24 w 121"/>
                    <a:gd name="T21" fmla="*/ 82 h 177"/>
                    <a:gd name="T22" fmla="*/ 26 w 121"/>
                    <a:gd name="T23" fmla="*/ 65 h 177"/>
                    <a:gd name="T24" fmla="*/ 38 w 121"/>
                    <a:gd name="T25" fmla="*/ 57 h 177"/>
                    <a:gd name="T26" fmla="*/ 45 w 121"/>
                    <a:gd name="T27" fmla="*/ 38 h 177"/>
                    <a:gd name="T28" fmla="*/ 62 w 121"/>
                    <a:gd name="T29" fmla="*/ 33 h 177"/>
                    <a:gd name="T30" fmla="*/ 92 w 121"/>
                    <a:gd name="T31" fmla="*/ 0 h 177"/>
                    <a:gd name="T32" fmla="*/ 108 w 121"/>
                    <a:gd name="T33" fmla="*/ 2 h 177"/>
                    <a:gd name="T34" fmla="*/ 121 w 121"/>
                    <a:gd name="T35" fmla="*/ 57 h 177"/>
                    <a:gd name="T36" fmla="*/ 104 w 121"/>
                    <a:gd name="T37" fmla="*/ 65 h 177"/>
                    <a:gd name="T38" fmla="*/ 100 w 121"/>
                    <a:gd name="T39" fmla="*/ 100 h 177"/>
                    <a:gd name="T40" fmla="*/ 80 w 121"/>
                    <a:gd name="T41" fmla="*/ 132 h 1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21" h="177">
                      <a:moveTo>
                        <a:pt x="80" y="132"/>
                      </a:moveTo>
                      <a:lnTo>
                        <a:pt x="73" y="142"/>
                      </a:lnTo>
                      <a:lnTo>
                        <a:pt x="70" y="162"/>
                      </a:lnTo>
                      <a:lnTo>
                        <a:pt x="53" y="177"/>
                      </a:lnTo>
                      <a:lnTo>
                        <a:pt x="37" y="173"/>
                      </a:lnTo>
                      <a:lnTo>
                        <a:pt x="26" y="148"/>
                      </a:lnTo>
                      <a:lnTo>
                        <a:pt x="12" y="142"/>
                      </a:lnTo>
                      <a:lnTo>
                        <a:pt x="17" y="128"/>
                      </a:lnTo>
                      <a:lnTo>
                        <a:pt x="0" y="104"/>
                      </a:lnTo>
                      <a:lnTo>
                        <a:pt x="2" y="100"/>
                      </a:lnTo>
                      <a:lnTo>
                        <a:pt x="24" y="82"/>
                      </a:lnTo>
                      <a:lnTo>
                        <a:pt x="26" y="65"/>
                      </a:lnTo>
                      <a:lnTo>
                        <a:pt x="38" y="57"/>
                      </a:lnTo>
                      <a:lnTo>
                        <a:pt x="45" y="38"/>
                      </a:lnTo>
                      <a:lnTo>
                        <a:pt x="62" y="33"/>
                      </a:lnTo>
                      <a:lnTo>
                        <a:pt x="92" y="0"/>
                      </a:lnTo>
                      <a:lnTo>
                        <a:pt x="108" y="2"/>
                      </a:lnTo>
                      <a:lnTo>
                        <a:pt x="121" y="57"/>
                      </a:lnTo>
                      <a:lnTo>
                        <a:pt x="104" y="65"/>
                      </a:lnTo>
                      <a:lnTo>
                        <a:pt x="100" y="100"/>
                      </a:lnTo>
                      <a:lnTo>
                        <a:pt x="80" y="132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43" name="Freeform 42"/>
                <p:cNvSpPr>
                  <a:spLocks/>
                </p:cNvSpPr>
                <p:nvPr/>
              </p:nvSpPr>
              <p:spPr bwMode="gray">
                <a:xfrm>
                  <a:off x="2705100" y="3676650"/>
                  <a:ext cx="255587" cy="190500"/>
                </a:xfrm>
                <a:custGeom>
                  <a:avLst/>
                  <a:gdLst>
                    <a:gd name="T0" fmla="*/ 161 w 161"/>
                    <a:gd name="T1" fmla="*/ 119 h 120"/>
                    <a:gd name="T2" fmla="*/ 160 w 161"/>
                    <a:gd name="T3" fmla="*/ 107 h 120"/>
                    <a:gd name="T4" fmla="*/ 149 w 161"/>
                    <a:gd name="T5" fmla="*/ 96 h 120"/>
                    <a:gd name="T6" fmla="*/ 152 w 161"/>
                    <a:gd name="T7" fmla="*/ 73 h 120"/>
                    <a:gd name="T8" fmla="*/ 133 w 161"/>
                    <a:gd name="T9" fmla="*/ 59 h 120"/>
                    <a:gd name="T10" fmla="*/ 130 w 161"/>
                    <a:gd name="T11" fmla="*/ 37 h 120"/>
                    <a:gd name="T12" fmla="*/ 109 w 161"/>
                    <a:gd name="T13" fmla="*/ 29 h 120"/>
                    <a:gd name="T14" fmla="*/ 101 w 161"/>
                    <a:gd name="T15" fmla="*/ 7 h 120"/>
                    <a:gd name="T16" fmla="*/ 70 w 161"/>
                    <a:gd name="T17" fmla="*/ 12 h 120"/>
                    <a:gd name="T18" fmla="*/ 54 w 161"/>
                    <a:gd name="T19" fmla="*/ 1 h 120"/>
                    <a:gd name="T20" fmla="*/ 41 w 161"/>
                    <a:gd name="T21" fmla="*/ 0 h 120"/>
                    <a:gd name="T22" fmla="*/ 24 w 161"/>
                    <a:gd name="T23" fmla="*/ 8 h 120"/>
                    <a:gd name="T24" fmla="*/ 20 w 161"/>
                    <a:gd name="T25" fmla="*/ 43 h 120"/>
                    <a:gd name="T26" fmla="*/ 0 w 161"/>
                    <a:gd name="T27" fmla="*/ 75 h 120"/>
                    <a:gd name="T28" fmla="*/ 60 w 161"/>
                    <a:gd name="T29" fmla="*/ 99 h 120"/>
                    <a:gd name="T30" fmla="*/ 82 w 161"/>
                    <a:gd name="T31" fmla="*/ 99 h 120"/>
                    <a:gd name="T32" fmla="*/ 100 w 161"/>
                    <a:gd name="T33" fmla="*/ 92 h 120"/>
                    <a:gd name="T34" fmla="*/ 117 w 161"/>
                    <a:gd name="T35" fmla="*/ 105 h 120"/>
                    <a:gd name="T36" fmla="*/ 152 w 161"/>
                    <a:gd name="T37" fmla="*/ 120 h 120"/>
                    <a:gd name="T38" fmla="*/ 161 w 161"/>
                    <a:gd name="T39" fmla="*/ 119 h 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61" h="120">
                      <a:moveTo>
                        <a:pt x="161" y="119"/>
                      </a:moveTo>
                      <a:lnTo>
                        <a:pt x="160" y="107"/>
                      </a:lnTo>
                      <a:lnTo>
                        <a:pt x="149" y="96"/>
                      </a:lnTo>
                      <a:lnTo>
                        <a:pt x="152" y="73"/>
                      </a:lnTo>
                      <a:lnTo>
                        <a:pt x="133" y="59"/>
                      </a:lnTo>
                      <a:lnTo>
                        <a:pt x="130" y="37"/>
                      </a:lnTo>
                      <a:lnTo>
                        <a:pt x="109" y="29"/>
                      </a:lnTo>
                      <a:lnTo>
                        <a:pt x="101" y="7"/>
                      </a:lnTo>
                      <a:lnTo>
                        <a:pt x="70" y="12"/>
                      </a:lnTo>
                      <a:lnTo>
                        <a:pt x="54" y="1"/>
                      </a:lnTo>
                      <a:lnTo>
                        <a:pt x="41" y="0"/>
                      </a:lnTo>
                      <a:lnTo>
                        <a:pt x="24" y="8"/>
                      </a:lnTo>
                      <a:lnTo>
                        <a:pt x="20" y="43"/>
                      </a:lnTo>
                      <a:lnTo>
                        <a:pt x="0" y="75"/>
                      </a:lnTo>
                      <a:lnTo>
                        <a:pt x="60" y="99"/>
                      </a:lnTo>
                      <a:lnTo>
                        <a:pt x="82" y="99"/>
                      </a:lnTo>
                      <a:lnTo>
                        <a:pt x="100" y="92"/>
                      </a:lnTo>
                      <a:lnTo>
                        <a:pt x="117" y="105"/>
                      </a:lnTo>
                      <a:lnTo>
                        <a:pt x="152" y="120"/>
                      </a:lnTo>
                      <a:lnTo>
                        <a:pt x="161" y="119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44" name="Freeform 43"/>
                <p:cNvSpPr>
                  <a:spLocks/>
                </p:cNvSpPr>
                <p:nvPr/>
              </p:nvSpPr>
              <p:spPr bwMode="gray">
                <a:xfrm>
                  <a:off x="2662238" y="3795713"/>
                  <a:ext cx="325437" cy="215900"/>
                </a:xfrm>
                <a:custGeom>
                  <a:avLst/>
                  <a:gdLst>
                    <a:gd name="T0" fmla="*/ 77 w 205"/>
                    <a:gd name="T1" fmla="*/ 112 h 136"/>
                    <a:gd name="T2" fmla="*/ 92 w 205"/>
                    <a:gd name="T3" fmla="*/ 104 h 136"/>
                    <a:gd name="T4" fmla="*/ 123 w 205"/>
                    <a:gd name="T5" fmla="*/ 124 h 136"/>
                    <a:gd name="T6" fmla="*/ 139 w 205"/>
                    <a:gd name="T7" fmla="*/ 124 h 136"/>
                    <a:gd name="T8" fmla="*/ 153 w 205"/>
                    <a:gd name="T9" fmla="*/ 136 h 136"/>
                    <a:gd name="T10" fmla="*/ 177 w 205"/>
                    <a:gd name="T11" fmla="*/ 122 h 136"/>
                    <a:gd name="T12" fmla="*/ 175 w 205"/>
                    <a:gd name="T13" fmla="*/ 96 h 136"/>
                    <a:gd name="T14" fmla="*/ 205 w 205"/>
                    <a:gd name="T15" fmla="*/ 70 h 136"/>
                    <a:gd name="T16" fmla="*/ 201 w 205"/>
                    <a:gd name="T17" fmla="*/ 42 h 136"/>
                    <a:gd name="T18" fmla="*/ 188 w 205"/>
                    <a:gd name="T19" fmla="*/ 44 h 136"/>
                    <a:gd name="T20" fmla="*/ 179 w 205"/>
                    <a:gd name="T21" fmla="*/ 45 h 136"/>
                    <a:gd name="T22" fmla="*/ 144 w 205"/>
                    <a:gd name="T23" fmla="*/ 30 h 136"/>
                    <a:gd name="T24" fmla="*/ 127 w 205"/>
                    <a:gd name="T25" fmla="*/ 17 h 136"/>
                    <a:gd name="T26" fmla="*/ 109 w 205"/>
                    <a:gd name="T27" fmla="*/ 24 h 136"/>
                    <a:gd name="T28" fmla="*/ 87 w 205"/>
                    <a:gd name="T29" fmla="*/ 24 h 136"/>
                    <a:gd name="T30" fmla="*/ 27 w 205"/>
                    <a:gd name="T31" fmla="*/ 0 h 136"/>
                    <a:gd name="T32" fmla="*/ 20 w 205"/>
                    <a:gd name="T33" fmla="*/ 10 h 136"/>
                    <a:gd name="T34" fmla="*/ 17 w 205"/>
                    <a:gd name="T35" fmla="*/ 30 h 136"/>
                    <a:gd name="T36" fmla="*/ 0 w 205"/>
                    <a:gd name="T37" fmla="*/ 45 h 136"/>
                    <a:gd name="T38" fmla="*/ 28 w 205"/>
                    <a:gd name="T39" fmla="*/ 85 h 136"/>
                    <a:gd name="T40" fmla="*/ 59 w 205"/>
                    <a:gd name="T41" fmla="*/ 86 h 136"/>
                    <a:gd name="T42" fmla="*/ 77 w 205"/>
                    <a:gd name="T43" fmla="*/ 112 h 1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205" h="136">
                      <a:moveTo>
                        <a:pt x="77" y="112"/>
                      </a:moveTo>
                      <a:lnTo>
                        <a:pt x="92" y="104"/>
                      </a:lnTo>
                      <a:lnTo>
                        <a:pt x="123" y="124"/>
                      </a:lnTo>
                      <a:lnTo>
                        <a:pt x="139" y="124"/>
                      </a:lnTo>
                      <a:lnTo>
                        <a:pt x="153" y="136"/>
                      </a:lnTo>
                      <a:lnTo>
                        <a:pt x="177" y="122"/>
                      </a:lnTo>
                      <a:lnTo>
                        <a:pt x="175" y="96"/>
                      </a:lnTo>
                      <a:lnTo>
                        <a:pt x="205" y="70"/>
                      </a:lnTo>
                      <a:lnTo>
                        <a:pt x="201" y="42"/>
                      </a:lnTo>
                      <a:lnTo>
                        <a:pt x="188" y="44"/>
                      </a:lnTo>
                      <a:lnTo>
                        <a:pt x="179" y="45"/>
                      </a:lnTo>
                      <a:lnTo>
                        <a:pt x="144" y="30"/>
                      </a:lnTo>
                      <a:lnTo>
                        <a:pt x="127" y="17"/>
                      </a:lnTo>
                      <a:lnTo>
                        <a:pt x="109" y="24"/>
                      </a:lnTo>
                      <a:lnTo>
                        <a:pt x="87" y="24"/>
                      </a:lnTo>
                      <a:lnTo>
                        <a:pt x="27" y="0"/>
                      </a:lnTo>
                      <a:lnTo>
                        <a:pt x="20" y="10"/>
                      </a:lnTo>
                      <a:lnTo>
                        <a:pt x="17" y="30"/>
                      </a:lnTo>
                      <a:lnTo>
                        <a:pt x="0" y="45"/>
                      </a:lnTo>
                      <a:lnTo>
                        <a:pt x="28" y="85"/>
                      </a:lnTo>
                      <a:lnTo>
                        <a:pt x="59" y="86"/>
                      </a:lnTo>
                      <a:lnTo>
                        <a:pt x="77" y="112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45" name="Freeform 44"/>
                <p:cNvSpPr>
                  <a:spLocks/>
                </p:cNvSpPr>
                <p:nvPr/>
              </p:nvSpPr>
              <p:spPr bwMode="gray">
                <a:xfrm>
                  <a:off x="2543175" y="3860800"/>
                  <a:ext cx="241300" cy="173038"/>
                </a:xfrm>
                <a:custGeom>
                  <a:avLst/>
                  <a:gdLst>
                    <a:gd name="T0" fmla="*/ 152 w 152"/>
                    <a:gd name="T1" fmla="*/ 71 h 109"/>
                    <a:gd name="T2" fmla="*/ 146 w 152"/>
                    <a:gd name="T3" fmla="*/ 75 h 109"/>
                    <a:gd name="T4" fmla="*/ 132 w 152"/>
                    <a:gd name="T5" fmla="*/ 91 h 109"/>
                    <a:gd name="T6" fmla="*/ 135 w 152"/>
                    <a:gd name="T7" fmla="*/ 104 h 109"/>
                    <a:gd name="T8" fmla="*/ 82 w 152"/>
                    <a:gd name="T9" fmla="*/ 108 h 109"/>
                    <a:gd name="T10" fmla="*/ 64 w 152"/>
                    <a:gd name="T11" fmla="*/ 96 h 109"/>
                    <a:gd name="T12" fmla="*/ 52 w 152"/>
                    <a:gd name="T13" fmla="*/ 107 h 109"/>
                    <a:gd name="T14" fmla="*/ 32 w 152"/>
                    <a:gd name="T15" fmla="*/ 109 h 109"/>
                    <a:gd name="T16" fmla="*/ 12 w 152"/>
                    <a:gd name="T17" fmla="*/ 108 h 109"/>
                    <a:gd name="T18" fmla="*/ 0 w 152"/>
                    <a:gd name="T19" fmla="*/ 79 h 109"/>
                    <a:gd name="T20" fmla="*/ 12 w 152"/>
                    <a:gd name="T21" fmla="*/ 67 h 109"/>
                    <a:gd name="T22" fmla="*/ 16 w 152"/>
                    <a:gd name="T23" fmla="*/ 21 h 109"/>
                    <a:gd name="T24" fmla="*/ 34 w 152"/>
                    <a:gd name="T25" fmla="*/ 20 h 109"/>
                    <a:gd name="T26" fmla="*/ 59 w 152"/>
                    <a:gd name="T27" fmla="*/ 0 h 109"/>
                    <a:gd name="T28" fmla="*/ 75 w 152"/>
                    <a:gd name="T29" fmla="*/ 4 h 109"/>
                    <a:gd name="T30" fmla="*/ 103 w 152"/>
                    <a:gd name="T31" fmla="*/ 44 h 109"/>
                    <a:gd name="T32" fmla="*/ 134 w 152"/>
                    <a:gd name="T33" fmla="*/ 45 h 109"/>
                    <a:gd name="T34" fmla="*/ 152 w 152"/>
                    <a:gd name="T35" fmla="*/ 71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52" h="109">
                      <a:moveTo>
                        <a:pt x="152" y="71"/>
                      </a:moveTo>
                      <a:lnTo>
                        <a:pt x="146" y="75"/>
                      </a:lnTo>
                      <a:lnTo>
                        <a:pt x="132" y="91"/>
                      </a:lnTo>
                      <a:lnTo>
                        <a:pt x="135" y="104"/>
                      </a:lnTo>
                      <a:lnTo>
                        <a:pt x="82" y="108"/>
                      </a:lnTo>
                      <a:lnTo>
                        <a:pt x="64" y="96"/>
                      </a:lnTo>
                      <a:lnTo>
                        <a:pt x="52" y="107"/>
                      </a:lnTo>
                      <a:lnTo>
                        <a:pt x="32" y="109"/>
                      </a:lnTo>
                      <a:lnTo>
                        <a:pt x="12" y="108"/>
                      </a:lnTo>
                      <a:lnTo>
                        <a:pt x="0" y="79"/>
                      </a:lnTo>
                      <a:lnTo>
                        <a:pt x="12" y="67"/>
                      </a:lnTo>
                      <a:lnTo>
                        <a:pt x="16" y="21"/>
                      </a:lnTo>
                      <a:lnTo>
                        <a:pt x="34" y="20"/>
                      </a:lnTo>
                      <a:lnTo>
                        <a:pt x="59" y="0"/>
                      </a:lnTo>
                      <a:lnTo>
                        <a:pt x="75" y="4"/>
                      </a:lnTo>
                      <a:lnTo>
                        <a:pt x="103" y="44"/>
                      </a:lnTo>
                      <a:lnTo>
                        <a:pt x="134" y="45"/>
                      </a:lnTo>
                      <a:lnTo>
                        <a:pt x="152" y="71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46" name="Freeform 45"/>
                <p:cNvSpPr>
                  <a:spLocks/>
                </p:cNvSpPr>
                <p:nvPr/>
              </p:nvSpPr>
              <p:spPr bwMode="gray">
                <a:xfrm>
                  <a:off x="2451100" y="4005263"/>
                  <a:ext cx="190500" cy="174625"/>
                </a:xfrm>
                <a:custGeom>
                  <a:avLst/>
                  <a:gdLst>
                    <a:gd name="T0" fmla="*/ 70 w 120"/>
                    <a:gd name="T1" fmla="*/ 17 h 110"/>
                    <a:gd name="T2" fmla="*/ 90 w 120"/>
                    <a:gd name="T3" fmla="*/ 18 h 110"/>
                    <a:gd name="T4" fmla="*/ 110 w 120"/>
                    <a:gd name="T5" fmla="*/ 16 h 110"/>
                    <a:gd name="T6" fmla="*/ 120 w 120"/>
                    <a:gd name="T7" fmla="*/ 45 h 110"/>
                    <a:gd name="T8" fmla="*/ 108 w 120"/>
                    <a:gd name="T9" fmla="*/ 54 h 110"/>
                    <a:gd name="T10" fmla="*/ 118 w 120"/>
                    <a:gd name="T11" fmla="*/ 74 h 110"/>
                    <a:gd name="T12" fmla="*/ 94 w 120"/>
                    <a:gd name="T13" fmla="*/ 84 h 110"/>
                    <a:gd name="T14" fmla="*/ 82 w 120"/>
                    <a:gd name="T15" fmla="*/ 105 h 110"/>
                    <a:gd name="T16" fmla="*/ 57 w 120"/>
                    <a:gd name="T17" fmla="*/ 110 h 110"/>
                    <a:gd name="T18" fmla="*/ 41 w 120"/>
                    <a:gd name="T19" fmla="*/ 105 h 110"/>
                    <a:gd name="T20" fmla="*/ 53 w 120"/>
                    <a:gd name="T21" fmla="*/ 100 h 110"/>
                    <a:gd name="T22" fmla="*/ 50 w 120"/>
                    <a:gd name="T23" fmla="*/ 82 h 110"/>
                    <a:gd name="T24" fmla="*/ 48 w 120"/>
                    <a:gd name="T25" fmla="*/ 77 h 110"/>
                    <a:gd name="T26" fmla="*/ 33 w 120"/>
                    <a:gd name="T27" fmla="*/ 54 h 110"/>
                    <a:gd name="T28" fmla="*/ 12 w 120"/>
                    <a:gd name="T29" fmla="*/ 54 h 110"/>
                    <a:gd name="T30" fmla="*/ 0 w 120"/>
                    <a:gd name="T31" fmla="*/ 32 h 110"/>
                    <a:gd name="T32" fmla="*/ 2 w 120"/>
                    <a:gd name="T33" fmla="*/ 29 h 110"/>
                    <a:gd name="T34" fmla="*/ 26 w 120"/>
                    <a:gd name="T35" fmla="*/ 0 h 110"/>
                    <a:gd name="T36" fmla="*/ 70 w 120"/>
                    <a:gd name="T37" fmla="*/ 17 h 1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20" h="110">
                      <a:moveTo>
                        <a:pt x="70" y="17"/>
                      </a:moveTo>
                      <a:lnTo>
                        <a:pt x="90" y="18"/>
                      </a:lnTo>
                      <a:lnTo>
                        <a:pt x="110" y="16"/>
                      </a:lnTo>
                      <a:lnTo>
                        <a:pt x="120" y="45"/>
                      </a:lnTo>
                      <a:lnTo>
                        <a:pt x="108" y="54"/>
                      </a:lnTo>
                      <a:lnTo>
                        <a:pt x="118" y="74"/>
                      </a:lnTo>
                      <a:lnTo>
                        <a:pt x="94" y="84"/>
                      </a:lnTo>
                      <a:lnTo>
                        <a:pt x="82" y="105"/>
                      </a:lnTo>
                      <a:lnTo>
                        <a:pt x="57" y="110"/>
                      </a:lnTo>
                      <a:lnTo>
                        <a:pt x="41" y="105"/>
                      </a:lnTo>
                      <a:lnTo>
                        <a:pt x="53" y="100"/>
                      </a:lnTo>
                      <a:lnTo>
                        <a:pt x="50" y="82"/>
                      </a:lnTo>
                      <a:lnTo>
                        <a:pt x="48" y="77"/>
                      </a:lnTo>
                      <a:lnTo>
                        <a:pt x="33" y="54"/>
                      </a:lnTo>
                      <a:lnTo>
                        <a:pt x="12" y="54"/>
                      </a:lnTo>
                      <a:lnTo>
                        <a:pt x="0" y="32"/>
                      </a:lnTo>
                      <a:lnTo>
                        <a:pt x="2" y="29"/>
                      </a:lnTo>
                      <a:lnTo>
                        <a:pt x="26" y="0"/>
                      </a:lnTo>
                      <a:lnTo>
                        <a:pt x="70" y="17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47" name="Freeform 46"/>
                <p:cNvSpPr>
                  <a:spLocks/>
                </p:cNvSpPr>
                <p:nvPr/>
              </p:nvSpPr>
              <p:spPr bwMode="gray">
                <a:xfrm>
                  <a:off x="2339975" y="4849813"/>
                  <a:ext cx="104775" cy="101600"/>
                </a:xfrm>
                <a:custGeom>
                  <a:avLst/>
                  <a:gdLst>
                    <a:gd name="T0" fmla="*/ 50 w 66"/>
                    <a:gd name="T1" fmla="*/ 5 h 64"/>
                    <a:gd name="T2" fmla="*/ 39 w 66"/>
                    <a:gd name="T3" fmla="*/ 8 h 64"/>
                    <a:gd name="T4" fmla="*/ 19 w 66"/>
                    <a:gd name="T5" fmla="*/ 0 h 64"/>
                    <a:gd name="T6" fmla="*/ 0 w 66"/>
                    <a:gd name="T7" fmla="*/ 17 h 64"/>
                    <a:gd name="T8" fmla="*/ 4 w 66"/>
                    <a:gd name="T9" fmla="*/ 22 h 64"/>
                    <a:gd name="T10" fmla="*/ 34 w 66"/>
                    <a:gd name="T11" fmla="*/ 64 h 64"/>
                    <a:gd name="T12" fmla="*/ 35 w 66"/>
                    <a:gd name="T13" fmla="*/ 62 h 64"/>
                    <a:gd name="T14" fmla="*/ 39 w 66"/>
                    <a:gd name="T15" fmla="*/ 54 h 64"/>
                    <a:gd name="T16" fmla="*/ 55 w 66"/>
                    <a:gd name="T17" fmla="*/ 49 h 64"/>
                    <a:gd name="T18" fmla="*/ 56 w 66"/>
                    <a:gd name="T19" fmla="*/ 49 h 64"/>
                    <a:gd name="T20" fmla="*/ 66 w 66"/>
                    <a:gd name="T21" fmla="*/ 18 h 64"/>
                    <a:gd name="T22" fmla="*/ 51 w 66"/>
                    <a:gd name="T23" fmla="*/ 5 h 64"/>
                    <a:gd name="T24" fmla="*/ 50 w 66"/>
                    <a:gd name="T25" fmla="*/ 5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66" h="64">
                      <a:moveTo>
                        <a:pt x="50" y="5"/>
                      </a:moveTo>
                      <a:lnTo>
                        <a:pt x="39" y="8"/>
                      </a:lnTo>
                      <a:lnTo>
                        <a:pt x="19" y="0"/>
                      </a:lnTo>
                      <a:lnTo>
                        <a:pt x="0" y="17"/>
                      </a:lnTo>
                      <a:lnTo>
                        <a:pt x="4" y="22"/>
                      </a:lnTo>
                      <a:lnTo>
                        <a:pt x="34" y="64"/>
                      </a:lnTo>
                      <a:lnTo>
                        <a:pt x="35" y="62"/>
                      </a:lnTo>
                      <a:lnTo>
                        <a:pt x="39" y="54"/>
                      </a:lnTo>
                      <a:lnTo>
                        <a:pt x="55" y="49"/>
                      </a:lnTo>
                      <a:lnTo>
                        <a:pt x="56" y="49"/>
                      </a:lnTo>
                      <a:lnTo>
                        <a:pt x="66" y="18"/>
                      </a:lnTo>
                      <a:lnTo>
                        <a:pt x="51" y="5"/>
                      </a:lnTo>
                      <a:lnTo>
                        <a:pt x="50" y="5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48" name="Freeform 47"/>
                <p:cNvSpPr>
                  <a:spLocks/>
                </p:cNvSpPr>
                <p:nvPr/>
              </p:nvSpPr>
              <p:spPr bwMode="gray">
                <a:xfrm>
                  <a:off x="2419350" y="4748213"/>
                  <a:ext cx="209550" cy="261938"/>
                </a:xfrm>
                <a:custGeom>
                  <a:avLst/>
                  <a:gdLst>
                    <a:gd name="T0" fmla="*/ 62 w 132"/>
                    <a:gd name="T1" fmla="*/ 165 h 165"/>
                    <a:gd name="T2" fmla="*/ 58 w 132"/>
                    <a:gd name="T3" fmla="*/ 149 h 165"/>
                    <a:gd name="T4" fmla="*/ 49 w 132"/>
                    <a:gd name="T5" fmla="*/ 134 h 165"/>
                    <a:gd name="T6" fmla="*/ 18 w 132"/>
                    <a:gd name="T7" fmla="*/ 114 h 165"/>
                    <a:gd name="T8" fmla="*/ 6 w 132"/>
                    <a:gd name="T9" fmla="*/ 113 h 165"/>
                    <a:gd name="T10" fmla="*/ 16 w 132"/>
                    <a:gd name="T11" fmla="*/ 82 h 165"/>
                    <a:gd name="T12" fmla="*/ 1 w 132"/>
                    <a:gd name="T13" fmla="*/ 69 h 165"/>
                    <a:gd name="T14" fmla="*/ 0 w 132"/>
                    <a:gd name="T15" fmla="*/ 50 h 165"/>
                    <a:gd name="T16" fmla="*/ 18 w 132"/>
                    <a:gd name="T17" fmla="*/ 44 h 165"/>
                    <a:gd name="T18" fmla="*/ 8 w 132"/>
                    <a:gd name="T19" fmla="*/ 17 h 165"/>
                    <a:gd name="T20" fmla="*/ 33 w 132"/>
                    <a:gd name="T21" fmla="*/ 0 h 165"/>
                    <a:gd name="T22" fmla="*/ 58 w 132"/>
                    <a:gd name="T23" fmla="*/ 1 h 165"/>
                    <a:gd name="T24" fmla="*/ 74 w 132"/>
                    <a:gd name="T25" fmla="*/ 28 h 165"/>
                    <a:gd name="T26" fmla="*/ 86 w 132"/>
                    <a:gd name="T27" fmla="*/ 34 h 165"/>
                    <a:gd name="T28" fmla="*/ 105 w 132"/>
                    <a:gd name="T29" fmla="*/ 61 h 165"/>
                    <a:gd name="T30" fmla="*/ 117 w 132"/>
                    <a:gd name="T31" fmla="*/ 81 h 165"/>
                    <a:gd name="T32" fmla="*/ 124 w 132"/>
                    <a:gd name="T33" fmla="*/ 102 h 165"/>
                    <a:gd name="T34" fmla="*/ 132 w 132"/>
                    <a:gd name="T35" fmla="*/ 134 h 165"/>
                    <a:gd name="T36" fmla="*/ 100 w 132"/>
                    <a:gd name="T37" fmla="*/ 141 h 165"/>
                    <a:gd name="T38" fmla="*/ 96 w 132"/>
                    <a:gd name="T39" fmla="*/ 160 h 165"/>
                    <a:gd name="T40" fmla="*/ 78 w 132"/>
                    <a:gd name="T41" fmla="*/ 161 h 165"/>
                    <a:gd name="T42" fmla="*/ 62 w 132"/>
                    <a:gd name="T43" fmla="*/ 165 h 1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32" h="165">
                      <a:moveTo>
                        <a:pt x="62" y="165"/>
                      </a:moveTo>
                      <a:lnTo>
                        <a:pt x="58" y="149"/>
                      </a:lnTo>
                      <a:lnTo>
                        <a:pt x="49" y="134"/>
                      </a:lnTo>
                      <a:lnTo>
                        <a:pt x="18" y="114"/>
                      </a:lnTo>
                      <a:lnTo>
                        <a:pt x="6" y="113"/>
                      </a:lnTo>
                      <a:lnTo>
                        <a:pt x="16" y="82"/>
                      </a:lnTo>
                      <a:lnTo>
                        <a:pt x="1" y="69"/>
                      </a:lnTo>
                      <a:lnTo>
                        <a:pt x="0" y="50"/>
                      </a:lnTo>
                      <a:lnTo>
                        <a:pt x="18" y="44"/>
                      </a:lnTo>
                      <a:lnTo>
                        <a:pt x="8" y="17"/>
                      </a:lnTo>
                      <a:lnTo>
                        <a:pt x="33" y="0"/>
                      </a:lnTo>
                      <a:lnTo>
                        <a:pt x="58" y="1"/>
                      </a:lnTo>
                      <a:lnTo>
                        <a:pt x="74" y="28"/>
                      </a:lnTo>
                      <a:lnTo>
                        <a:pt x="86" y="34"/>
                      </a:lnTo>
                      <a:lnTo>
                        <a:pt x="105" y="61"/>
                      </a:lnTo>
                      <a:lnTo>
                        <a:pt x="117" y="81"/>
                      </a:lnTo>
                      <a:lnTo>
                        <a:pt x="124" y="102"/>
                      </a:lnTo>
                      <a:lnTo>
                        <a:pt x="132" y="134"/>
                      </a:lnTo>
                      <a:lnTo>
                        <a:pt x="100" y="141"/>
                      </a:lnTo>
                      <a:lnTo>
                        <a:pt x="96" y="160"/>
                      </a:lnTo>
                      <a:lnTo>
                        <a:pt x="78" y="161"/>
                      </a:lnTo>
                      <a:lnTo>
                        <a:pt x="62" y="165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49" name="Freeform 48"/>
                <p:cNvSpPr>
                  <a:spLocks/>
                </p:cNvSpPr>
                <p:nvPr/>
              </p:nvSpPr>
              <p:spPr bwMode="gray">
                <a:xfrm>
                  <a:off x="2393950" y="4927600"/>
                  <a:ext cx="117475" cy="82550"/>
                </a:xfrm>
                <a:custGeom>
                  <a:avLst/>
                  <a:gdLst>
                    <a:gd name="T0" fmla="*/ 60 w 74"/>
                    <a:gd name="T1" fmla="*/ 48 h 52"/>
                    <a:gd name="T2" fmla="*/ 42 w 74"/>
                    <a:gd name="T3" fmla="*/ 45 h 52"/>
                    <a:gd name="T4" fmla="*/ 28 w 74"/>
                    <a:gd name="T5" fmla="*/ 52 h 52"/>
                    <a:gd name="T6" fmla="*/ 4 w 74"/>
                    <a:gd name="T7" fmla="*/ 21 h 52"/>
                    <a:gd name="T8" fmla="*/ 0 w 74"/>
                    <a:gd name="T9" fmla="*/ 15 h 52"/>
                    <a:gd name="T10" fmla="*/ 1 w 74"/>
                    <a:gd name="T11" fmla="*/ 13 h 52"/>
                    <a:gd name="T12" fmla="*/ 5 w 74"/>
                    <a:gd name="T13" fmla="*/ 5 h 52"/>
                    <a:gd name="T14" fmla="*/ 21 w 74"/>
                    <a:gd name="T15" fmla="*/ 0 h 52"/>
                    <a:gd name="T16" fmla="*/ 22 w 74"/>
                    <a:gd name="T17" fmla="*/ 0 h 52"/>
                    <a:gd name="T18" fmla="*/ 34 w 74"/>
                    <a:gd name="T19" fmla="*/ 1 h 52"/>
                    <a:gd name="T20" fmla="*/ 65 w 74"/>
                    <a:gd name="T21" fmla="*/ 21 h 52"/>
                    <a:gd name="T22" fmla="*/ 74 w 74"/>
                    <a:gd name="T23" fmla="*/ 36 h 52"/>
                    <a:gd name="T24" fmla="*/ 60 w 74"/>
                    <a:gd name="T25" fmla="*/ 48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74" h="52">
                      <a:moveTo>
                        <a:pt x="60" y="48"/>
                      </a:moveTo>
                      <a:lnTo>
                        <a:pt x="42" y="45"/>
                      </a:lnTo>
                      <a:lnTo>
                        <a:pt x="28" y="52"/>
                      </a:lnTo>
                      <a:lnTo>
                        <a:pt x="4" y="21"/>
                      </a:lnTo>
                      <a:lnTo>
                        <a:pt x="0" y="15"/>
                      </a:lnTo>
                      <a:lnTo>
                        <a:pt x="1" y="13"/>
                      </a:lnTo>
                      <a:lnTo>
                        <a:pt x="5" y="5"/>
                      </a:lnTo>
                      <a:lnTo>
                        <a:pt x="21" y="0"/>
                      </a:lnTo>
                      <a:lnTo>
                        <a:pt x="22" y="0"/>
                      </a:lnTo>
                      <a:lnTo>
                        <a:pt x="34" y="1"/>
                      </a:lnTo>
                      <a:lnTo>
                        <a:pt x="65" y="21"/>
                      </a:lnTo>
                      <a:lnTo>
                        <a:pt x="74" y="36"/>
                      </a:lnTo>
                      <a:lnTo>
                        <a:pt x="60" y="48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50" name="Freeform 49"/>
                <p:cNvSpPr>
                  <a:spLocks/>
                </p:cNvSpPr>
                <p:nvPr/>
              </p:nvSpPr>
              <p:spPr bwMode="gray">
                <a:xfrm>
                  <a:off x="2460625" y="5002213"/>
                  <a:ext cx="144462" cy="107950"/>
                </a:xfrm>
                <a:custGeom>
                  <a:avLst/>
                  <a:gdLst>
                    <a:gd name="T0" fmla="*/ 35 w 91"/>
                    <a:gd name="T1" fmla="*/ 68 h 68"/>
                    <a:gd name="T2" fmla="*/ 68 w 91"/>
                    <a:gd name="T3" fmla="*/ 60 h 68"/>
                    <a:gd name="T4" fmla="*/ 72 w 91"/>
                    <a:gd name="T5" fmla="*/ 44 h 68"/>
                    <a:gd name="T6" fmla="*/ 90 w 91"/>
                    <a:gd name="T7" fmla="*/ 37 h 68"/>
                    <a:gd name="T8" fmla="*/ 91 w 91"/>
                    <a:gd name="T9" fmla="*/ 22 h 68"/>
                    <a:gd name="T10" fmla="*/ 78 w 91"/>
                    <a:gd name="T11" fmla="*/ 17 h 68"/>
                    <a:gd name="T12" fmla="*/ 70 w 91"/>
                    <a:gd name="T13" fmla="*/ 0 h 68"/>
                    <a:gd name="T14" fmla="*/ 52 w 91"/>
                    <a:gd name="T15" fmla="*/ 1 h 68"/>
                    <a:gd name="T16" fmla="*/ 36 w 91"/>
                    <a:gd name="T17" fmla="*/ 5 h 68"/>
                    <a:gd name="T18" fmla="*/ 22 w 91"/>
                    <a:gd name="T19" fmla="*/ 4 h 68"/>
                    <a:gd name="T20" fmla="*/ 20 w 91"/>
                    <a:gd name="T21" fmla="*/ 5 h 68"/>
                    <a:gd name="T22" fmla="*/ 24 w 91"/>
                    <a:gd name="T23" fmla="*/ 13 h 68"/>
                    <a:gd name="T24" fmla="*/ 23 w 91"/>
                    <a:gd name="T25" fmla="*/ 37 h 68"/>
                    <a:gd name="T26" fmla="*/ 4 w 91"/>
                    <a:gd name="T27" fmla="*/ 37 h 68"/>
                    <a:gd name="T28" fmla="*/ 0 w 91"/>
                    <a:gd name="T29" fmla="*/ 37 h 68"/>
                    <a:gd name="T30" fmla="*/ 35 w 91"/>
                    <a:gd name="T31" fmla="*/ 68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91" h="68">
                      <a:moveTo>
                        <a:pt x="35" y="68"/>
                      </a:moveTo>
                      <a:lnTo>
                        <a:pt x="68" y="60"/>
                      </a:lnTo>
                      <a:lnTo>
                        <a:pt x="72" y="44"/>
                      </a:lnTo>
                      <a:lnTo>
                        <a:pt x="90" y="37"/>
                      </a:lnTo>
                      <a:lnTo>
                        <a:pt x="91" y="22"/>
                      </a:lnTo>
                      <a:lnTo>
                        <a:pt x="78" y="17"/>
                      </a:lnTo>
                      <a:lnTo>
                        <a:pt x="70" y="0"/>
                      </a:lnTo>
                      <a:lnTo>
                        <a:pt x="52" y="1"/>
                      </a:lnTo>
                      <a:lnTo>
                        <a:pt x="36" y="5"/>
                      </a:lnTo>
                      <a:lnTo>
                        <a:pt x="22" y="4"/>
                      </a:lnTo>
                      <a:lnTo>
                        <a:pt x="20" y="5"/>
                      </a:lnTo>
                      <a:lnTo>
                        <a:pt x="24" y="13"/>
                      </a:lnTo>
                      <a:lnTo>
                        <a:pt x="23" y="37"/>
                      </a:lnTo>
                      <a:lnTo>
                        <a:pt x="4" y="37"/>
                      </a:lnTo>
                      <a:lnTo>
                        <a:pt x="0" y="37"/>
                      </a:lnTo>
                      <a:lnTo>
                        <a:pt x="35" y="68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51" name="Freeform 50"/>
                <p:cNvSpPr>
                  <a:spLocks/>
                </p:cNvSpPr>
                <p:nvPr/>
              </p:nvSpPr>
              <p:spPr bwMode="gray">
                <a:xfrm>
                  <a:off x="2422525" y="4984750"/>
                  <a:ext cx="95250" cy="76200"/>
                </a:xfrm>
                <a:custGeom>
                  <a:avLst/>
                  <a:gdLst>
                    <a:gd name="T0" fmla="*/ 42 w 60"/>
                    <a:gd name="T1" fmla="*/ 12 h 48"/>
                    <a:gd name="T2" fmla="*/ 24 w 60"/>
                    <a:gd name="T3" fmla="*/ 9 h 48"/>
                    <a:gd name="T4" fmla="*/ 10 w 60"/>
                    <a:gd name="T5" fmla="*/ 16 h 48"/>
                    <a:gd name="T6" fmla="*/ 12 w 60"/>
                    <a:gd name="T7" fmla="*/ 17 h 48"/>
                    <a:gd name="T8" fmla="*/ 0 w 60"/>
                    <a:gd name="T9" fmla="*/ 27 h 48"/>
                    <a:gd name="T10" fmla="*/ 24 w 60"/>
                    <a:gd name="T11" fmla="*/ 48 h 48"/>
                    <a:gd name="T12" fmla="*/ 28 w 60"/>
                    <a:gd name="T13" fmla="*/ 48 h 48"/>
                    <a:gd name="T14" fmla="*/ 47 w 60"/>
                    <a:gd name="T15" fmla="*/ 48 h 48"/>
                    <a:gd name="T16" fmla="*/ 48 w 60"/>
                    <a:gd name="T17" fmla="*/ 24 h 48"/>
                    <a:gd name="T18" fmla="*/ 44 w 60"/>
                    <a:gd name="T19" fmla="*/ 16 h 48"/>
                    <a:gd name="T20" fmla="*/ 46 w 60"/>
                    <a:gd name="T21" fmla="*/ 15 h 48"/>
                    <a:gd name="T22" fmla="*/ 60 w 60"/>
                    <a:gd name="T23" fmla="*/ 16 h 48"/>
                    <a:gd name="T24" fmla="*/ 56 w 60"/>
                    <a:gd name="T25" fmla="*/ 0 h 48"/>
                    <a:gd name="T26" fmla="*/ 42 w 60"/>
                    <a:gd name="T27" fmla="*/ 12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60" h="48">
                      <a:moveTo>
                        <a:pt x="42" y="12"/>
                      </a:moveTo>
                      <a:lnTo>
                        <a:pt x="24" y="9"/>
                      </a:lnTo>
                      <a:lnTo>
                        <a:pt x="10" y="16"/>
                      </a:lnTo>
                      <a:lnTo>
                        <a:pt x="12" y="17"/>
                      </a:lnTo>
                      <a:lnTo>
                        <a:pt x="0" y="27"/>
                      </a:lnTo>
                      <a:lnTo>
                        <a:pt x="24" y="48"/>
                      </a:lnTo>
                      <a:lnTo>
                        <a:pt x="28" y="48"/>
                      </a:lnTo>
                      <a:lnTo>
                        <a:pt x="47" y="48"/>
                      </a:lnTo>
                      <a:lnTo>
                        <a:pt x="48" y="24"/>
                      </a:lnTo>
                      <a:lnTo>
                        <a:pt x="44" y="16"/>
                      </a:lnTo>
                      <a:lnTo>
                        <a:pt x="46" y="15"/>
                      </a:lnTo>
                      <a:lnTo>
                        <a:pt x="60" y="16"/>
                      </a:lnTo>
                      <a:lnTo>
                        <a:pt x="56" y="0"/>
                      </a:lnTo>
                      <a:lnTo>
                        <a:pt x="42" y="12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52" name="Freeform 51"/>
                <p:cNvSpPr>
                  <a:spLocks/>
                </p:cNvSpPr>
                <p:nvPr/>
              </p:nvSpPr>
              <p:spPr bwMode="gray">
                <a:xfrm>
                  <a:off x="2711450" y="4718050"/>
                  <a:ext cx="147637" cy="265113"/>
                </a:xfrm>
                <a:custGeom>
                  <a:avLst/>
                  <a:gdLst>
                    <a:gd name="T0" fmla="*/ 13 w 93"/>
                    <a:gd name="T1" fmla="*/ 156 h 167"/>
                    <a:gd name="T2" fmla="*/ 0 w 93"/>
                    <a:gd name="T3" fmla="*/ 148 h 167"/>
                    <a:gd name="T4" fmla="*/ 17 w 93"/>
                    <a:gd name="T5" fmla="*/ 133 h 167"/>
                    <a:gd name="T6" fmla="*/ 12 w 93"/>
                    <a:gd name="T7" fmla="*/ 113 h 167"/>
                    <a:gd name="T8" fmla="*/ 34 w 93"/>
                    <a:gd name="T9" fmla="*/ 112 h 167"/>
                    <a:gd name="T10" fmla="*/ 37 w 93"/>
                    <a:gd name="T11" fmla="*/ 84 h 167"/>
                    <a:gd name="T12" fmla="*/ 53 w 93"/>
                    <a:gd name="T13" fmla="*/ 75 h 167"/>
                    <a:gd name="T14" fmla="*/ 29 w 93"/>
                    <a:gd name="T15" fmla="*/ 61 h 167"/>
                    <a:gd name="T16" fmla="*/ 26 w 93"/>
                    <a:gd name="T17" fmla="*/ 21 h 167"/>
                    <a:gd name="T18" fmla="*/ 28 w 93"/>
                    <a:gd name="T19" fmla="*/ 15 h 167"/>
                    <a:gd name="T20" fmla="*/ 28 w 93"/>
                    <a:gd name="T21" fmla="*/ 7 h 167"/>
                    <a:gd name="T22" fmla="*/ 61 w 93"/>
                    <a:gd name="T23" fmla="*/ 0 h 167"/>
                    <a:gd name="T24" fmla="*/ 72 w 93"/>
                    <a:gd name="T25" fmla="*/ 21 h 167"/>
                    <a:gd name="T26" fmla="*/ 57 w 93"/>
                    <a:gd name="T27" fmla="*/ 27 h 167"/>
                    <a:gd name="T28" fmla="*/ 76 w 93"/>
                    <a:gd name="T29" fmla="*/ 53 h 167"/>
                    <a:gd name="T30" fmla="*/ 66 w 93"/>
                    <a:gd name="T31" fmla="*/ 73 h 167"/>
                    <a:gd name="T32" fmla="*/ 93 w 93"/>
                    <a:gd name="T33" fmla="*/ 91 h 167"/>
                    <a:gd name="T34" fmla="*/ 76 w 93"/>
                    <a:gd name="T35" fmla="*/ 139 h 167"/>
                    <a:gd name="T36" fmla="*/ 61 w 93"/>
                    <a:gd name="T37" fmla="*/ 136 h 167"/>
                    <a:gd name="T38" fmla="*/ 66 w 93"/>
                    <a:gd name="T39" fmla="*/ 160 h 167"/>
                    <a:gd name="T40" fmla="*/ 66 w 93"/>
                    <a:gd name="T41" fmla="*/ 160 h 167"/>
                    <a:gd name="T42" fmla="*/ 46 w 93"/>
                    <a:gd name="T43" fmla="*/ 167 h 167"/>
                    <a:gd name="T44" fmla="*/ 14 w 93"/>
                    <a:gd name="T45" fmla="*/ 155 h 167"/>
                    <a:gd name="T46" fmla="*/ 13 w 93"/>
                    <a:gd name="T47" fmla="*/ 156 h 1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93" h="167">
                      <a:moveTo>
                        <a:pt x="13" y="156"/>
                      </a:moveTo>
                      <a:lnTo>
                        <a:pt x="0" y="148"/>
                      </a:lnTo>
                      <a:lnTo>
                        <a:pt x="17" y="133"/>
                      </a:lnTo>
                      <a:lnTo>
                        <a:pt x="12" y="113"/>
                      </a:lnTo>
                      <a:lnTo>
                        <a:pt x="34" y="112"/>
                      </a:lnTo>
                      <a:lnTo>
                        <a:pt x="37" y="84"/>
                      </a:lnTo>
                      <a:lnTo>
                        <a:pt x="53" y="75"/>
                      </a:lnTo>
                      <a:lnTo>
                        <a:pt x="29" y="61"/>
                      </a:lnTo>
                      <a:lnTo>
                        <a:pt x="26" y="21"/>
                      </a:lnTo>
                      <a:lnTo>
                        <a:pt x="28" y="15"/>
                      </a:lnTo>
                      <a:lnTo>
                        <a:pt x="28" y="7"/>
                      </a:lnTo>
                      <a:lnTo>
                        <a:pt x="61" y="0"/>
                      </a:lnTo>
                      <a:lnTo>
                        <a:pt x="72" y="21"/>
                      </a:lnTo>
                      <a:lnTo>
                        <a:pt x="57" y="27"/>
                      </a:lnTo>
                      <a:lnTo>
                        <a:pt x="76" y="53"/>
                      </a:lnTo>
                      <a:lnTo>
                        <a:pt x="66" y="73"/>
                      </a:lnTo>
                      <a:lnTo>
                        <a:pt x="93" y="91"/>
                      </a:lnTo>
                      <a:lnTo>
                        <a:pt x="76" y="139"/>
                      </a:lnTo>
                      <a:lnTo>
                        <a:pt x="61" y="136"/>
                      </a:lnTo>
                      <a:lnTo>
                        <a:pt x="66" y="160"/>
                      </a:lnTo>
                      <a:lnTo>
                        <a:pt x="66" y="160"/>
                      </a:lnTo>
                      <a:lnTo>
                        <a:pt x="46" y="167"/>
                      </a:lnTo>
                      <a:lnTo>
                        <a:pt x="14" y="155"/>
                      </a:lnTo>
                      <a:lnTo>
                        <a:pt x="13" y="156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53" name="Freeform 52"/>
                <p:cNvSpPr>
                  <a:spLocks/>
                </p:cNvSpPr>
                <p:nvPr/>
              </p:nvSpPr>
              <p:spPr bwMode="gray">
                <a:xfrm>
                  <a:off x="2492375" y="4960938"/>
                  <a:ext cx="171450" cy="307975"/>
                </a:xfrm>
                <a:custGeom>
                  <a:avLst/>
                  <a:gdLst>
                    <a:gd name="T0" fmla="*/ 108 w 108"/>
                    <a:gd name="T1" fmla="*/ 24 h 194"/>
                    <a:gd name="T2" fmla="*/ 100 w 108"/>
                    <a:gd name="T3" fmla="*/ 4 h 194"/>
                    <a:gd name="T4" fmla="*/ 86 w 108"/>
                    <a:gd name="T5" fmla="*/ 0 h 194"/>
                    <a:gd name="T6" fmla="*/ 54 w 108"/>
                    <a:gd name="T7" fmla="*/ 7 h 194"/>
                    <a:gd name="T8" fmla="*/ 50 w 108"/>
                    <a:gd name="T9" fmla="*/ 26 h 194"/>
                    <a:gd name="T10" fmla="*/ 58 w 108"/>
                    <a:gd name="T11" fmla="*/ 43 h 194"/>
                    <a:gd name="T12" fmla="*/ 71 w 108"/>
                    <a:gd name="T13" fmla="*/ 48 h 194"/>
                    <a:gd name="T14" fmla="*/ 70 w 108"/>
                    <a:gd name="T15" fmla="*/ 63 h 194"/>
                    <a:gd name="T16" fmla="*/ 52 w 108"/>
                    <a:gd name="T17" fmla="*/ 70 h 194"/>
                    <a:gd name="T18" fmla="*/ 48 w 108"/>
                    <a:gd name="T19" fmla="*/ 86 h 194"/>
                    <a:gd name="T20" fmla="*/ 15 w 108"/>
                    <a:gd name="T21" fmla="*/ 94 h 194"/>
                    <a:gd name="T22" fmla="*/ 0 w 108"/>
                    <a:gd name="T23" fmla="*/ 107 h 194"/>
                    <a:gd name="T24" fmla="*/ 18 w 108"/>
                    <a:gd name="T25" fmla="*/ 140 h 194"/>
                    <a:gd name="T26" fmla="*/ 24 w 108"/>
                    <a:gd name="T27" fmla="*/ 151 h 194"/>
                    <a:gd name="T28" fmla="*/ 24 w 108"/>
                    <a:gd name="T29" fmla="*/ 190 h 194"/>
                    <a:gd name="T30" fmla="*/ 67 w 108"/>
                    <a:gd name="T31" fmla="*/ 194 h 194"/>
                    <a:gd name="T32" fmla="*/ 79 w 108"/>
                    <a:gd name="T33" fmla="*/ 108 h 194"/>
                    <a:gd name="T34" fmla="*/ 108 w 108"/>
                    <a:gd name="T35" fmla="*/ 70 h 194"/>
                    <a:gd name="T36" fmla="*/ 96 w 108"/>
                    <a:gd name="T37" fmla="*/ 60 h 194"/>
                    <a:gd name="T38" fmla="*/ 100 w 108"/>
                    <a:gd name="T39" fmla="*/ 28 h 194"/>
                    <a:gd name="T40" fmla="*/ 108 w 108"/>
                    <a:gd name="T41" fmla="*/ 24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08" h="194">
                      <a:moveTo>
                        <a:pt x="108" y="24"/>
                      </a:moveTo>
                      <a:lnTo>
                        <a:pt x="100" y="4"/>
                      </a:lnTo>
                      <a:lnTo>
                        <a:pt x="86" y="0"/>
                      </a:lnTo>
                      <a:lnTo>
                        <a:pt x="54" y="7"/>
                      </a:lnTo>
                      <a:lnTo>
                        <a:pt x="50" y="26"/>
                      </a:lnTo>
                      <a:lnTo>
                        <a:pt x="58" y="43"/>
                      </a:lnTo>
                      <a:lnTo>
                        <a:pt x="71" y="48"/>
                      </a:lnTo>
                      <a:lnTo>
                        <a:pt x="70" y="63"/>
                      </a:lnTo>
                      <a:lnTo>
                        <a:pt x="52" y="70"/>
                      </a:lnTo>
                      <a:lnTo>
                        <a:pt x="48" y="86"/>
                      </a:lnTo>
                      <a:lnTo>
                        <a:pt x="15" y="94"/>
                      </a:lnTo>
                      <a:lnTo>
                        <a:pt x="0" y="107"/>
                      </a:lnTo>
                      <a:lnTo>
                        <a:pt x="18" y="140"/>
                      </a:lnTo>
                      <a:lnTo>
                        <a:pt x="24" y="151"/>
                      </a:lnTo>
                      <a:lnTo>
                        <a:pt x="24" y="190"/>
                      </a:lnTo>
                      <a:lnTo>
                        <a:pt x="67" y="194"/>
                      </a:lnTo>
                      <a:lnTo>
                        <a:pt x="79" y="108"/>
                      </a:lnTo>
                      <a:lnTo>
                        <a:pt x="108" y="70"/>
                      </a:lnTo>
                      <a:lnTo>
                        <a:pt x="96" y="60"/>
                      </a:lnTo>
                      <a:lnTo>
                        <a:pt x="100" y="28"/>
                      </a:lnTo>
                      <a:lnTo>
                        <a:pt x="108" y="24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56" name="Freeform 55"/>
                <p:cNvSpPr>
                  <a:spLocks/>
                </p:cNvSpPr>
                <p:nvPr/>
              </p:nvSpPr>
              <p:spPr bwMode="gray">
                <a:xfrm>
                  <a:off x="2916238" y="4260850"/>
                  <a:ext cx="179387" cy="141288"/>
                </a:xfrm>
                <a:custGeom>
                  <a:avLst/>
                  <a:gdLst>
                    <a:gd name="T0" fmla="*/ 97 w 113"/>
                    <a:gd name="T1" fmla="*/ 89 h 89"/>
                    <a:gd name="T2" fmla="*/ 77 w 113"/>
                    <a:gd name="T3" fmla="*/ 88 h 89"/>
                    <a:gd name="T4" fmla="*/ 52 w 113"/>
                    <a:gd name="T5" fmla="*/ 71 h 89"/>
                    <a:gd name="T6" fmla="*/ 35 w 113"/>
                    <a:gd name="T7" fmla="*/ 73 h 89"/>
                    <a:gd name="T8" fmla="*/ 37 w 113"/>
                    <a:gd name="T9" fmla="*/ 52 h 89"/>
                    <a:gd name="T10" fmla="*/ 21 w 113"/>
                    <a:gd name="T11" fmla="*/ 37 h 89"/>
                    <a:gd name="T12" fmla="*/ 3 w 113"/>
                    <a:gd name="T13" fmla="*/ 40 h 89"/>
                    <a:gd name="T14" fmla="*/ 0 w 113"/>
                    <a:gd name="T15" fmla="*/ 24 h 89"/>
                    <a:gd name="T16" fmla="*/ 27 w 113"/>
                    <a:gd name="T17" fmla="*/ 0 h 89"/>
                    <a:gd name="T18" fmla="*/ 48 w 113"/>
                    <a:gd name="T19" fmla="*/ 16 h 89"/>
                    <a:gd name="T20" fmla="*/ 56 w 113"/>
                    <a:gd name="T21" fmla="*/ 37 h 89"/>
                    <a:gd name="T22" fmla="*/ 72 w 113"/>
                    <a:gd name="T23" fmla="*/ 51 h 89"/>
                    <a:gd name="T24" fmla="*/ 97 w 113"/>
                    <a:gd name="T25" fmla="*/ 40 h 89"/>
                    <a:gd name="T26" fmla="*/ 113 w 113"/>
                    <a:gd name="T27" fmla="*/ 49 h 89"/>
                    <a:gd name="T28" fmla="*/ 109 w 113"/>
                    <a:gd name="T29" fmla="*/ 76 h 89"/>
                    <a:gd name="T30" fmla="*/ 112 w 113"/>
                    <a:gd name="T31" fmla="*/ 76 h 89"/>
                    <a:gd name="T32" fmla="*/ 97 w 113"/>
                    <a:gd name="T33" fmla="*/ 89 h 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13" h="89">
                      <a:moveTo>
                        <a:pt x="97" y="89"/>
                      </a:moveTo>
                      <a:lnTo>
                        <a:pt x="77" y="88"/>
                      </a:lnTo>
                      <a:lnTo>
                        <a:pt x="52" y="71"/>
                      </a:lnTo>
                      <a:lnTo>
                        <a:pt x="35" y="73"/>
                      </a:lnTo>
                      <a:lnTo>
                        <a:pt x="37" y="52"/>
                      </a:lnTo>
                      <a:lnTo>
                        <a:pt x="21" y="37"/>
                      </a:lnTo>
                      <a:lnTo>
                        <a:pt x="3" y="40"/>
                      </a:lnTo>
                      <a:lnTo>
                        <a:pt x="0" y="24"/>
                      </a:lnTo>
                      <a:lnTo>
                        <a:pt x="27" y="0"/>
                      </a:lnTo>
                      <a:lnTo>
                        <a:pt x="48" y="16"/>
                      </a:lnTo>
                      <a:lnTo>
                        <a:pt x="56" y="37"/>
                      </a:lnTo>
                      <a:lnTo>
                        <a:pt x="72" y="51"/>
                      </a:lnTo>
                      <a:lnTo>
                        <a:pt x="97" y="40"/>
                      </a:lnTo>
                      <a:lnTo>
                        <a:pt x="113" y="49"/>
                      </a:lnTo>
                      <a:lnTo>
                        <a:pt x="109" y="76"/>
                      </a:lnTo>
                      <a:lnTo>
                        <a:pt x="112" y="76"/>
                      </a:lnTo>
                      <a:lnTo>
                        <a:pt x="97" y="89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57" name="Freeform 56"/>
                <p:cNvSpPr>
                  <a:spLocks/>
                </p:cNvSpPr>
                <p:nvPr/>
              </p:nvSpPr>
              <p:spPr bwMode="gray">
                <a:xfrm>
                  <a:off x="2876550" y="4298950"/>
                  <a:ext cx="171450" cy="215900"/>
                </a:xfrm>
                <a:custGeom>
                  <a:avLst/>
                  <a:gdLst>
                    <a:gd name="T0" fmla="*/ 102 w 108"/>
                    <a:gd name="T1" fmla="*/ 64 h 136"/>
                    <a:gd name="T2" fmla="*/ 77 w 108"/>
                    <a:gd name="T3" fmla="*/ 47 h 136"/>
                    <a:gd name="T4" fmla="*/ 60 w 108"/>
                    <a:gd name="T5" fmla="*/ 49 h 136"/>
                    <a:gd name="T6" fmla="*/ 62 w 108"/>
                    <a:gd name="T7" fmla="*/ 28 h 136"/>
                    <a:gd name="T8" fmla="*/ 46 w 108"/>
                    <a:gd name="T9" fmla="*/ 13 h 136"/>
                    <a:gd name="T10" fmla="*/ 28 w 108"/>
                    <a:gd name="T11" fmla="*/ 16 h 136"/>
                    <a:gd name="T12" fmla="*/ 25 w 108"/>
                    <a:gd name="T13" fmla="*/ 0 h 136"/>
                    <a:gd name="T14" fmla="*/ 22 w 108"/>
                    <a:gd name="T15" fmla="*/ 4 h 136"/>
                    <a:gd name="T16" fmla="*/ 0 w 108"/>
                    <a:gd name="T17" fmla="*/ 76 h 136"/>
                    <a:gd name="T18" fmla="*/ 18 w 108"/>
                    <a:gd name="T19" fmla="*/ 96 h 136"/>
                    <a:gd name="T20" fmla="*/ 33 w 108"/>
                    <a:gd name="T21" fmla="*/ 96 h 136"/>
                    <a:gd name="T22" fmla="*/ 54 w 108"/>
                    <a:gd name="T23" fmla="*/ 121 h 136"/>
                    <a:gd name="T24" fmla="*/ 72 w 108"/>
                    <a:gd name="T25" fmla="*/ 121 h 136"/>
                    <a:gd name="T26" fmla="*/ 88 w 108"/>
                    <a:gd name="T27" fmla="*/ 136 h 136"/>
                    <a:gd name="T28" fmla="*/ 102 w 108"/>
                    <a:gd name="T29" fmla="*/ 111 h 136"/>
                    <a:gd name="T30" fmla="*/ 98 w 108"/>
                    <a:gd name="T31" fmla="*/ 92 h 136"/>
                    <a:gd name="T32" fmla="*/ 108 w 108"/>
                    <a:gd name="T33" fmla="*/ 81 h 136"/>
                    <a:gd name="T34" fmla="*/ 102 w 108"/>
                    <a:gd name="T35" fmla="*/ 64 h 1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08" h="136">
                      <a:moveTo>
                        <a:pt x="102" y="64"/>
                      </a:moveTo>
                      <a:lnTo>
                        <a:pt x="77" y="47"/>
                      </a:lnTo>
                      <a:lnTo>
                        <a:pt x="60" y="49"/>
                      </a:lnTo>
                      <a:lnTo>
                        <a:pt x="62" y="28"/>
                      </a:lnTo>
                      <a:lnTo>
                        <a:pt x="46" y="13"/>
                      </a:lnTo>
                      <a:lnTo>
                        <a:pt x="28" y="16"/>
                      </a:lnTo>
                      <a:lnTo>
                        <a:pt x="25" y="0"/>
                      </a:lnTo>
                      <a:lnTo>
                        <a:pt x="22" y="4"/>
                      </a:lnTo>
                      <a:lnTo>
                        <a:pt x="0" y="76"/>
                      </a:lnTo>
                      <a:lnTo>
                        <a:pt x="18" y="96"/>
                      </a:lnTo>
                      <a:lnTo>
                        <a:pt x="33" y="96"/>
                      </a:lnTo>
                      <a:lnTo>
                        <a:pt x="54" y="121"/>
                      </a:lnTo>
                      <a:lnTo>
                        <a:pt x="72" y="121"/>
                      </a:lnTo>
                      <a:lnTo>
                        <a:pt x="88" y="136"/>
                      </a:lnTo>
                      <a:lnTo>
                        <a:pt x="102" y="111"/>
                      </a:lnTo>
                      <a:lnTo>
                        <a:pt x="98" y="92"/>
                      </a:lnTo>
                      <a:lnTo>
                        <a:pt x="108" y="81"/>
                      </a:lnTo>
                      <a:lnTo>
                        <a:pt x="102" y="64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58" name="Freeform 57"/>
                <p:cNvSpPr>
                  <a:spLocks/>
                </p:cNvSpPr>
                <p:nvPr/>
              </p:nvSpPr>
              <p:spPr bwMode="gray">
                <a:xfrm>
                  <a:off x="2776538" y="4164013"/>
                  <a:ext cx="182562" cy="141288"/>
                </a:xfrm>
                <a:custGeom>
                  <a:avLst/>
                  <a:gdLst>
                    <a:gd name="T0" fmla="*/ 113 w 115"/>
                    <a:gd name="T1" fmla="*/ 30 h 89"/>
                    <a:gd name="T2" fmla="*/ 115 w 115"/>
                    <a:gd name="T3" fmla="*/ 61 h 89"/>
                    <a:gd name="T4" fmla="*/ 88 w 115"/>
                    <a:gd name="T5" fmla="*/ 85 h 89"/>
                    <a:gd name="T6" fmla="*/ 85 w 115"/>
                    <a:gd name="T7" fmla="*/ 89 h 89"/>
                    <a:gd name="T8" fmla="*/ 63 w 115"/>
                    <a:gd name="T9" fmla="*/ 82 h 89"/>
                    <a:gd name="T10" fmla="*/ 49 w 115"/>
                    <a:gd name="T11" fmla="*/ 86 h 89"/>
                    <a:gd name="T12" fmla="*/ 40 w 115"/>
                    <a:gd name="T13" fmla="*/ 77 h 89"/>
                    <a:gd name="T14" fmla="*/ 9 w 115"/>
                    <a:gd name="T15" fmla="*/ 70 h 89"/>
                    <a:gd name="T16" fmla="*/ 20 w 115"/>
                    <a:gd name="T17" fmla="*/ 57 h 89"/>
                    <a:gd name="T18" fmla="*/ 3 w 115"/>
                    <a:gd name="T19" fmla="*/ 52 h 89"/>
                    <a:gd name="T20" fmla="*/ 0 w 115"/>
                    <a:gd name="T21" fmla="*/ 38 h 89"/>
                    <a:gd name="T22" fmla="*/ 8 w 115"/>
                    <a:gd name="T23" fmla="*/ 25 h 89"/>
                    <a:gd name="T24" fmla="*/ 24 w 115"/>
                    <a:gd name="T25" fmla="*/ 1 h 89"/>
                    <a:gd name="T26" fmla="*/ 81 w 115"/>
                    <a:gd name="T27" fmla="*/ 0 h 89"/>
                    <a:gd name="T28" fmla="*/ 112 w 115"/>
                    <a:gd name="T29" fmla="*/ 26 h 89"/>
                    <a:gd name="T30" fmla="*/ 113 w 115"/>
                    <a:gd name="T31" fmla="*/ 30 h 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15" h="89">
                      <a:moveTo>
                        <a:pt x="113" y="30"/>
                      </a:moveTo>
                      <a:lnTo>
                        <a:pt x="115" y="61"/>
                      </a:lnTo>
                      <a:lnTo>
                        <a:pt x="88" y="85"/>
                      </a:lnTo>
                      <a:lnTo>
                        <a:pt x="85" y="89"/>
                      </a:lnTo>
                      <a:lnTo>
                        <a:pt x="63" y="82"/>
                      </a:lnTo>
                      <a:lnTo>
                        <a:pt x="49" y="86"/>
                      </a:lnTo>
                      <a:lnTo>
                        <a:pt x="40" y="77"/>
                      </a:lnTo>
                      <a:lnTo>
                        <a:pt x="9" y="70"/>
                      </a:lnTo>
                      <a:lnTo>
                        <a:pt x="20" y="57"/>
                      </a:lnTo>
                      <a:lnTo>
                        <a:pt x="3" y="52"/>
                      </a:lnTo>
                      <a:lnTo>
                        <a:pt x="0" y="38"/>
                      </a:lnTo>
                      <a:lnTo>
                        <a:pt x="8" y="25"/>
                      </a:lnTo>
                      <a:lnTo>
                        <a:pt x="24" y="1"/>
                      </a:lnTo>
                      <a:lnTo>
                        <a:pt x="81" y="0"/>
                      </a:lnTo>
                      <a:lnTo>
                        <a:pt x="112" y="26"/>
                      </a:lnTo>
                      <a:lnTo>
                        <a:pt x="113" y="30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59" name="Freeform 58"/>
                <p:cNvSpPr>
                  <a:spLocks/>
                </p:cNvSpPr>
                <p:nvPr/>
              </p:nvSpPr>
              <p:spPr bwMode="gray">
                <a:xfrm>
                  <a:off x="2955925" y="4127500"/>
                  <a:ext cx="323850" cy="214313"/>
                </a:xfrm>
                <a:custGeom>
                  <a:avLst/>
                  <a:gdLst>
                    <a:gd name="T0" fmla="*/ 104 w 204"/>
                    <a:gd name="T1" fmla="*/ 105 h 135"/>
                    <a:gd name="T2" fmla="*/ 104 w 204"/>
                    <a:gd name="T3" fmla="*/ 120 h 135"/>
                    <a:gd name="T4" fmla="*/ 88 w 204"/>
                    <a:gd name="T5" fmla="*/ 133 h 135"/>
                    <a:gd name="T6" fmla="*/ 72 w 204"/>
                    <a:gd name="T7" fmla="*/ 124 h 135"/>
                    <a:gd name="T8" fmla="*/ 47 w 204"/>
                    <a:gd name="T9" fmla="*/ 135 h 135"/>
                    <a:gd name="T10" fmla="*/ 31 w 204"/>
                    <a:gd name="T11" fmla="*/ 121 h 135"/>
                    <a:gd name="T12" fmla="*/ 23 w 204"/>
                    <a:gd name="T13" fmla="*/ 100 h 135"/>
                    <a:gd name="T14" fmla="*/ 2 w 204"/>
                    <a:gd name="T15" fmla="*/ 84 h 135"/>
                    <a:gd name="T16" fmla="*/ 0 w 204"/>
                    <a:gd name="T17" fmla="*/ 53 h 135"/>
                    <a:gd name="T18" fmla="*/ 46 w 204"/>
                    <a:gd name="T19" fmla="*/ 36 h 135"/>
                    <a:gd name="T20" fmla="*/ 62 w 204"/>
                    <a:gd name="T21" fmla="*/ 29 h 135"/>
                    <a:gd name="T22" fmla="*/ 64 w 204"/>
                    <a:gd name="T23" fmla="*/ 15 h 135"/>
                    <a:gd name="T24" fmla="*/ 92 w 204"/>
                    <a:gd name="T25" fmla="*/ 23 h 135"/>
                    <a:gd name="T26" fmla="*/ 102 w 204"/>
                    <a:gd name="T27" fmla="*/ 1 h 135"/>
                    <a:gd name="T28" fmla="*/ 122 w 204"/>
                    <a:gd name="T29" fmla="*/ 9 h 135"/>
                    <a:gd name="T30" fmla="*/ 147 w 204"/>
                    <a:gd name="T31" fmla="*/ 0 h 135"/>
                    <a:gd name="T32" fmla="*/ 170 w 204"/>
                    <a:gd name="T33" fmla="*/ 13 h 135"/>
                    <a:gd name="T34" fmla="*/ 187 w 204"/>
                    <a:gd name="T35" fmla="*/ 15 h 135"/>
                    <a:gd name="T36" fmla="*/ 204 w 204"/>
                    <a:gd name="T37" fmla="*/ 37 h 135"/>
                    <a:gd name="T38" fmla="*/ 194 w 204"/>
                    <a:gd name="T39" fmla="*/ 52 h 135"/>
                    <a:gd name="T40" fmla="*/ 168 w 204"/>
                    <a:gd name="T41" fmla="*/ 48 h 135"/>
                    <a:gd name="T42" fmla="*/ 159 w 204"/>
                    <a:gd name="T43" fmla="*/ 67 h 135"/>
                    <a:gd name="T44" fmla="*/ 140 w 204"/>
                    <a:gd name="T45" fmla="*/ 60 h 135"/>
                    <a:gd name="T46" fmla="*/ 120 w 204"/>
                    <a:gd name="T47" fmla="*/ 72 h 135"/>
                    <a:gd name="T48" fmla="*/ 120 w 204"/>
                    <a:gd name="T49" fmla="*/ 100 h 135"/>
                    <a:gd name="T50" fmla="*/ 104 w 204"/>
                    <a:gd name="T51" fmla="*/ 105 h 1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204" h="135">
                      <a:moveTo>
                        <a:pt x="104" y="105"/>
                      </a:moveTo>
                      <a:lnTo>
                        <a:pt x="104" y="120"/>
                      </a:lnTo>
                      <a:lnTo>
                        <a:pt x="88" y="133"/>
                      </a:lnTo>
                      <a:lnTo>
                        <a:pt x="72" y="124"/>
                      </a:lnTo>
                      <a:lnTo>
                        <a:pt x="47" y="135"/>
                      </a:lnTo>
                      <a:lnTo>
                        <a:pt x="31" y="121"/>
                      </a:lnTo>
                      <a:lnTo>
                        <a:pt x="23" y="100"/>
                      </a:lnTo>
                      <a:lnTo>
                        <a:pt x="2" y="84"/>
                      </a:lnTo>
                      <a:lnTo>
                        <a:pt x="0" y="53"/>
                      </a:lnTo>
                      <a:lnTo>
                        <a:pt x="46" y="36"/>
                      </a:lnTo>
                      <a:lnTo>
                        <a:pt x="62" y="29"/>
                      </a:lnTo>
                      <a:lnTo>
                        <a:pt x="64" y="15"/>
                      </a:lnTo>
                      <a:lnTo>
                        <a:pt x="92" y="23"/>
                      </a:lnTo>
                      <a:lnTo>
                        <a:pt x="102" y="1"/>
                      </a:lnTo>
                      <a:lnTo>
                        <a:pt x="122" y="9"/>
                      </a:lnTo>
                      <a:lnTo>
                        <a:pt x="147" y="0"/>
                      </a:lnTo>
                      <a:lnTo>
                        <a:pt x="170" y="13"/>
                      </a:lnTo>
                      <a:lnTo>
                        <a:pt x="187" y="15"/>
                      </a:lnTo>
                      <a:lnTo>
                        <a:pt x="204" y="37"/>
                      </a:lnTo>
                      <a:lnTo>
                        <a:pt x="194" y="52"/>
                      </a:lnTo>
                      <a:lnTo>
                        <a:pt x="168" y="48"/>
                      </a:lnTo>
                      <a:lnTo>
                        <a:pt x="159" y="67"/>
                      </a:lnTo>
                      <a:lnTo>
                        <a:pt x="140" y="60"/>
                      </a:lnTo>
                      <a:lnTo>
                        <a:pt x="120" y="72"/>
                      </a:lnTo>
                      <a:lnTo>
                        <a:pt x="120" y="100"/>
                      </a:lnTo>
                      <a:lnTo>
                        <a:pt x="104" y="105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0" name="Freeform 59"/>
                <p:cNvSpPr>
                  <a:spLocks/>
                </p:cNvSpPr>
                <p:nvPr/>
              </p:nvSpPr>
              <p:spPr bwMode="gray">
                <a:xfrm>
                  <a:off x="3024188" y="3973513"/>
                  <a:ext cx="312737" cy="177800"/>
                </a:xfrm>
                <a:custGeom>
                  <a:avLst/>
                  <a:gdLst>
                    <a:gd name="T0" fmla="*/ 59 w 197"/>
                    <a:gd name="T1" fmla="*/ 98 h 112"/>
                    <a:gd name="T2" fmla="*/ 49 w 197"/>
                    <a:gd name="T3" fmla="*/ 77 h 112"/>
                    <a:gd name="T4" fmla="*/ 29 w 197"/>
                    <a:gd name="T5" fmla="*/ 56 h 112"/>
                    <a:gd name="T6" fmla="*/ 8 w 197"/>
                    <a:gd name="T7" fmla="*/ 60 h 112"/>
                    <a:gd name="T8" fmla="*/ 0 w 197"/>
                    <a:gd name="T9" fmla="*/ 42 h 112"/>
                    <a:gd name="T10" fmla="*/ 45 w 197"/>
                    <a:gd name="T11" fmla="*/ 10 h 112"/>
                    <a:gd name="T12" fmla="*/ 87 w 197"/>
                    <a:gd name="T13" fmla="*/ 0 h 112"/>
                    <a:gd name="T14" fmla="*/ 151 w 197"/>
                    <a:gd name="T15" fmla="*/ 60 h 112"/>
                    <a:gd name="T16" fmla="*/ 197 w 197"/>
                    <a:gd name="T17" fmla="*/ 57 h 112"/>
                    <a:gd name="T18" fmla="*/ 188 w 197"/>
                    <a:gd name="T19" fmla="*/ 96 h 112"/>
                    <a:gd name="T20" fmla="*/ 161 w 197"/>
                    <a:gd name="T21" fmla="*/ 97 h 112"/>
                    <a:gd name="T22" fmla="*/ 144 w 197"/>
                    <a:gd name="T23" fmla="*/ 112 h 112"/>
                    <a:gd name="T24" fmla="*/ 127 w 197"/>
                    <a:gd name="T25" fmla="*/ 110 h 112"/>
                    <a:gd name="T26" fmla="*/ 104 w 197"/>
                    <a:gd name="T27" fmla="*/ 97 h 112"/>
                    <a:gd name="T28" fmla="*/ 79 w 197"/>
                    <a:gd name="T29" fmla="*/ 106 h 112"/>
                    <a:gd name="T30" fmla="*/ 59 w 197"/>
                    <a:gd name="T31" fmla="*/ 98 h 1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97" h="112">
                      <a:moveTo>
                        <a:pt x="59" y="98"/>
                      </a:moveTo>
                      <a:lnTo>
                        <a:pt x="49" y="77"/>
                      </a:lnTo>
                      <a:lnTo>
                        <a:pt x="29" y="56"/>
                      </a:lnTo>
                      <a:lnTo>
                        <a:pt x="8" y="60"/>
                      </a:lnTo>
                      <a:lnTo>
                        <a:pt x="0" y="42"/>
                      </a:lnTo>
                      <a:lnTo>
                        <a:pt x="45" y="10"/>
                      </a:lnTo>
                      <a:lnTo>
                        <a:pt x="87" y="0"/>
                      </a:lnTo>
                      <a:lnTo>
                        <a:pt x="151" y="60"/>
                      </a:lnTo>
                      <a:lnTo>
                        <a:pt x="197" y="57"/>
                      </a:lnTo>
                      <a:lnTo>
                        <a:pt x="188" y="96"/>
                      </a:lnTo>
                      <a:lnTo>
                        <a:pt x="161" y="97"/>
                      </a:lnTo>
                      <a:lnTo>
                        <a:pt x="144" y="112"/>
                      </a:lnTo>
                      <a:lnTo>
                        <a:pt x="127" y="110"/>
                      </a:lnTo>
                      <a:lnTo>
                        <a:pt x="104" y="97"/>
                      </a:lnTo>
                      <a:lnTo>
                        <a:pt x="79" y="106"/>
                      </a:lnTo>
                      <a:lnTo>
                        <a:pt x="59" y="98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1" name="Freeform 60"/>
                <p:cNvSpPr>
                  <a:spLocks/>
                </p:cNvSpPr>
                <p:nvPr/>
              </p:nvSpPr>
              <p:spPr bwMode="gray">
                <a:xfrm>
                  <a:off x="2905125" y="3906838"/>
                  <a:ext cx="190500" cy="163513"/>
                </a:xfrm>
                <a:custGeom>
                  <a:avLst/>
                  <a:gdLst>
                    <a:gd name="T0" fmla="*/ 40 w 120"/>
                    <a:gd name="T1" fmla="*/ 88 h 103"/>
                    <a:gd name="T2" fmla="*/ 46 w 120"/>
                    <a:gd name="T3" fmla="*/ 86 h 103"/>
                    <a:gd name="T4" fmla="*/ 68 w 120"/>
                    <a:gd name="T5" fmla="*/ 90 h 103"/>
                    <a:gd name="T6" fmla="*/ 75 w 120"/>
                    <a:gd name="T7" fmla="*/ 84 h 103"/>
                    <a:gd name="T8" fmla="*/ 120 w 120"/>
                    <a:gd name="T9" fmla="*/ 52 h 103"/>
                    <a:gd name="T10" fmla="*/ 104 w 120"/>
                    <a:gd name="T11" fmla="*/ 44 h 103"/>
                    <a:gd name="T12" fmla="*/ 104 w 120"/>
                    <a:gd name="T13" fmla="*/ 26 h 103"/>
                    <a:gd name="T14" fmla="*/ 114 w 120"/>
                    <a:gd name="T15" fmla="*/ 15 h 103"/>
                    <a:gd name="T16" fmla="*/ 108 w 120"/>
                    <a:gd name="T17" fmla="*/ 2 h 103"/>
                    <a:gd name="T18" fmla="*/ 52 w 120"/>
                    <a:gd name="T19" fmla="*/ 0 h 103"/>
                    <a:gd name="T20" fmla="*/ 22 w 120"/>
                    <a:gd name="T21" fmla="*/ 26 h 103"/>
                    <a:gd name="T22" fmla="*/ 24 w 120"/>
                    <a:gd name="T23" fmla="*/ 52 h 103"/>
                    <a:gd name="T24" fmla="*/ 0 w 120"/>
                    <a:gd name="T25" fmla="*/ 66 h 103"/>
                    <a:gd name="T26" fmla="*/ 4 w 120"/>
                    <a:gd name="T27" fmla="*/ 90 h 103"/>
                    <a:gd name="T28" fmla="*/ 19 w 120"/>
                    <a:gd name="T29" fmla="*/ 103 h 103"/>
                    <a:gd name="T30" fmla="*/ 40 w 120"/>
                    <a:gd name="T31" fmla="*/ 88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20" h="103">
                      <a:moveTo>
                        <a:pt x="40" y="88"/>
                      </a:moveTo>
                      <a:lnTo>
                        <a:pt x="46" y="86"/>
                      </a:lnTo>
                      <a:lnTo>
                        <a:pt x="68" y="90"/>
                      </a:lnTo>
                      <a:lnTo>
                        <a:pt x="75" y="84"/>
                      </a:lnTo>
                      <a:lnTo>
                        <a:pt x="120" y="52"/>
                      </a:lnTo>
                      <a:lnTo>
                        <a:pt x="104" y="44"/>
                      </a:lnTo>
                      <a:lnTo>
                        <a:pt x="104" y="26"/>
                      </a:lnTo>
                      <a:lnTo>
                        <a:pt x="114" y="15"/>
                      </a:lnTo>
                      <a:lnTo>
                        <a:pt x="108" y="2"/>
                      </a:lnTo>
                      <a:lnTo>
                        <a:pt x="52" y="0"/>
                      </a:lnTo>
                      <a:lnTo>
                        <a:pt x="22" y="26"/>
                      </a:lnTo>
                      <a:lnTo>
                        <a:pt x="24" y="52"/>
                      </a:lnTo>
                      <a:lnTo>
                        <a:pt x="0" y="66"/>
                      </a:lnTo>
                      <a:lnTo>
                        <a:pt x="4" y="90"/>
                      </a:lnTo>
                      <a:lnTo>
                        <a:pt x="19" y="103"/>
                      </a:lnTo>
                      <a:lnTo>
                        <a:pt x="40" y="88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2" name="Freeform 61"/>
                <p:cNvSpPr>
                  <a:spLocks/>
                </p:cNvSpPr>
                <p:nvPr/>
              </p:nvSpPr>
              <p:spPr bwMode="gray">
                <a:xfrm>
                  <a:off x="2968625" y="4040188"/>
                  <a:ext cx="149225" cy="133350"/>
                </a:xfrm>
                <a:custGeom>
                  <a:avLst/>
                  <a:gdLst>
                    <a:gd name="T0" fmla="*/ 54 w 94"/>
                    <a:gd name="T1" fmla="*/ 84 h 84"/>
                    <a:gd name="T2" fmla="*/ 35 w 94"/>
                    <a:gd name="T3" fmla="*/ 67 h 84"/>
                    <a:gd name="T4" fmla="*/ 30 w 94"/>
                    <a:gd name="T5" fmla="*/ 54 h 84"/>
                    <a:gd name="T6" fmla="*/ 0 w 94"/>
                    <a:gd name="T7" fmla="*/ 35 h 84"/>
                    <a:gd name="T8" fmla="*/ 0 w 94"/>
                    <a:gd name="T9" fmla="*/ 4 h 84"/>
                    <a:gd name="T10" fmla="*/ 6 w 94"/>
                    <a:gd name="T11" fmla="*/ 2 h 84"/>
                    <a:gd name="T12" fmla="*/ 28 w 94"/>
                    <a:gd name="T13" fmla="*/ 6 h 84"/>
                    <a:gd name="T14" fmla="*/ 35 w 94"/>
                    <a:gd name="T15" fmla="*/ 0 h 84"/>
                    <a:gd name="T16" fmla="*/ 43 w 94"/>
                    <a:gd name="T17" fmla="*/ 18 h 84"/>
                    <a:gd name="T18" fmla="*/ 64 w 94"/>
                    <a:gd name="T19" fmla="*/ 14 h 84"/>
                    <a:gd name="T20" fmla="*/ 84 w 94"/>
                    <a:gd name="T21" fmla="*/ 35 h 84"/>
                    <a:gd name="T22" fmla="*/ 94 w 94"/>
                    <a:gd name="T23" fmla="*/ 56 h 84"/>
                    <a:gd name="T24" fmla="*/ 84 w 94"/>
                    <a:gd name="T25" fmla="*/ 78 h 84"/>
                    <a:gd name="T26" fmla="*/ 56 w 94"/>
                    <a:gd name="T27" fmla="*/ 70 h 84"/>
                    <a:gd name="T28" fmla="*/ 54 w 94"/>
                    <a:gd name="T29" fmla="*/ 84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4" h="84">
                      <a:moveTo>
                        <a:pt x="54" y="84"/>
                      </a:moveTo>
                      <a:lnTo>
                        <a:pt x="35" y="67"/>
                      </a:lnTo>
                      <a:lnTo>
                        <a:pt x="30" y="54"/>
                      </a:lnTo>
                      <a:lnTo>
                        <a:pt x="0" y="35"/>
                      </a:lnTo>
                      <a:lnTo>
                        <a:pt x="0" y="4"/>
                      </a:lnTo>
                      <a:lnTo>
                        <a:pt x="6" y="2"/>
                      </a:lnTo>
                      <a:lnTo>
                        <a:pt x="28" y="6"/>
                      </a:lnTo>
                      <a:lnTo>
                        <a:pt x="35" y="0"/>
                      </a:lnTo>
                      <a:lnTo>
                        <a:pt x="43" y="18"/>
                      </a:lnTo>
                      <a:lnTo>
                        <a:pt x="64" y="14"/>
                      </a:lnTo>
                      <a:lnTo>
                        <a:pt x="84" y="35"/>
                      </a:lnTo>
                      <a:lnTo>
                        <a:pt x="94" y="56"/>
                      </a:lnTo>
                      <a:lnTo>
                        <a:pt x="84" y="78"/>
                      </a:lnTo>
                      <a:lnTo>
                        <a:pt x="56" y="70"/>
                      </a:lnTo>
                      <a:lnTo>
                        <a:pt x="54" y="84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3" name="Freeform 62"/>
                <p:cNvSpPr>
                  <a:spLocks/>
                </p:cNvSpPr>
                <p:nvPr/>
              </p:nvSpPr>
              <p:spPr bwMode="gray">
                <a:xfrm>
                  <a:off x="2889250" y="4046538"/>
                  <a:ext cx="165100" cy="165100"/>
                </a:xfrm>
                <a:custGeom>
                  <a:avLst/>
                  <a:gdLst>
                    <a:gd name="T0" fmla="*/ 10 w 104"/>
                    <a:gd name="T1" fmla="*/ 74 h 104"/>
                    <a:gd name="T2" fmla="*/ 41 w 104"/>
                    <a:gd name="T3" fmla="*/ 100 h 104"/>
                    <a:gd name="T4" fmla="*/ 42 w 104"/>
                    <a:gd name="T5" fmla="*/ 104 h 104"/>
                    <a:gd name="T6" fmla="*/ 88 w 104"/>
                    <a:gd name="T7" fmla="*/ 87 h 104"/>
                    <a:gd name="T8" fmla="*/ 104 w 104"/>
                    <a:gd name="T9" fmla="*/ 80 h 104"/>
                    <a:gd name="T10" fmla="*/ 85 w 104"/>
                    <a:gd name="T11" fmla="*/ 63 h 104"/>
                    <a:gd name="T12" fmla="*/ 80 w 104"/>
                    <a:gd name="T13" fmla="*/ 50 h 104"/>
                    <a:gd name="T14" fmla="*/ 50 w 104"/>
                    <a:gd name="T15" fmla="*/ 31 h 104"/>
                    <a:gd name="T16" fmla="*/ 50 w 104"/>
                    <a:gd name="T17" fmla="*/ 0 h 104"/>
                    <a:gd name="T18" fmla="*/ 29 w 104"/>
                    <a:gd name="T19" fmla="*/ 15 h 104"/>
                    <a:gd name="T20" fmla="*/ 14 w 104"/>
                    <a:gd name="T21" fmla="*/ 2 h 104"/>
                    <a:gd name="T22" fmla="*/ 0 w 104"/>
                    <a:gd name="T23" fmla="*/ 23 h 104"/>
                    <a:gd name="T24" fmla="*/ 17 w 104"/>
                    <a:gd name="T25" fmla="*/ 44 h 104"/>
                    <a:gd name="T26" fmla="*/ 14 w 104"/>
                    <a:gd name="T27" fmla="*/ 63 h 104"/>
                    <a:gd name="T28" fmla="*/ 10 w 104"/>
                    <a:gd name="T29" fmla="*/ 74 h 1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04" h="104">
                      <a:moveTo>
                        <a:pt x="10" y="74"/>
                      </a:moveTo>
                      <a:lnTo>
                        <a:pt x="41" y="100"/>
                      </a:lnTo>
                      <a:lnTo>
                        <a:pt x="42" y="104"/>
                      </a:lnTo>
                      <a:lnTo>
                        <a:pt x="88" y="87"/>
                      </a:lnTo>
                      <a:lnTo>
                        <a:pt x="104" y="80"/>
                      </a:lnTo>
                      <a:lnTo>
                        <a:pt x="85" y="63"/>
                      </a:lnTo>
                      <a:lnTo>
                        <a:pt x="80" y="50"/>
                      </a:lnTo>
                      <a:lnTo>
                        <a:pt x="50" y="31"/>
                      </a:lnTo>
                      <a:lnTo>
                        <a:pt x="50" y="0"/>
                      </a:lnTo>
                      <a:lnTo>
                        <a:pt x="29" y="15"/>
                      </a:lnTo>
                      <a:lnTo>
                        <a:pt x="14" y="2"/>
                      </a:lnTo>
                      <a:lnTo>
                        <a:pt x="0" y="23"/>
                      </a:lnTo>
                      <a:lnTo>
                        <a:pt x="17" y="44"/>
                      </a:lnTo>
                      <a:lnTo>
                        <a:pt x="14" y="63"/>
                      </a:lnTo>
                      <a:lnTo>
                        <a:pt x="10" y="74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4" name="Freeform 63"/>
                <p:cNvSpPr>
                  <a:spLocks/>
                </p:cNvSpPr>
                <p:nvPr/>
              </p:nvSpPr>
              <p:spPr bwMode="gray">
                <a:xfrm>
                  <a:off x="2751138" y="4275138"/>
                  <a:ext cx="160337" cy="165100"/>
                </a:xfrm>
                <a:custGeom>
                  <a:avLst/>
                  <a:gdLst>
                    <a:gd name="T0" fmla="*/ 25 w 101"/>
                    <a:gd name="T1" fmla="*/ 0 h 104"/>
                    <a:gd name="T2" fmla="*/ 7 w 101"/>
                    <a:gd name="T3" fmla="*/ 23 h 104"/>
                    <a:gd name="T4" fmla="*/ 17 w 101"/>
                    <a:gd name="T5" fmla="*/ 40 h 104"/>
                    <a:gd name="T6" fmla="*/ 0 w 101"/>
                    <a:gd name="T7" fmla="*/ 54 h 104"/>
                    <a:gd name="T8" fmla="*/ 4 w 101"/>
                    <a:gd name="T9" fmla="*/ 70 h 104"/>
                    <a:gd name="T10" fmla="*/ 36 w 101"/>
                    <a:gd name="T11" fmla="*/ 102 h 104"/>
                    <a:gd name="T12" fmla="*/ 51 w 101"/>
                    <a:gd name="T13" fmla="*/ 104 h 104"/>
                    <a:gd name="T14" fmla="*/ 68 w 101"/>
                    <a:gd name="T15" fmla="*/ 90 h 104"/>
                    <a:gd name="T16" fmla="*/ 79 w 101"/>
                    <a:gd name="T17" fmla="*/ 91 h 104"/>
                    <a:gd name="T18" fmla="*/ 101 w 101"/>
                    <a:gd name="T19" fmla="*/ 19 h 104"/>
                    <a:gd name="T20" fmla="*/ 79 w 101"/>
                    <a:gd name="T21" fmla="*/ 12 h 104"/>
                    <a:gd name="T22" fmla="*/ 65 w 101"/>
                    <a:gd name="T23" fmla="*/ 16 h 104"/>
                    <a:gd name="T24" fmla="*/ 56 w 101"/>
                    <a:gd name="T25" fmla="*/ 7 h 104"/>
                    <a:gd name="T26" fmla="*/ 25 w 101"/>
                    <a:gd name="T27" fmla="*/ 0 h 1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01" h="104">
                      <a:moveTo>
                        <a:pt x="25" y="0"/>
                      </a:moveTo>
                      <a:lnTo>
                        <a:pt x="7" y="23"/>
                      </a:lnTo>
                      <a:lnTo>
                        <a:pt x="17" y="40"/>
                      </a:lnTo>
                      <a:lnTo>
                        <a:pt x="0" y="54"/>
                      </a:lnTo>
                      <a:lnTo>
                        <a:pt x="4" y="70"/>
                      </a:lnTo>
                      <a:lnTo>
                        <a:pt x="36" y="102"/>
                      </a:lnTo>
                      <a:lnTo>
                        <a:pt x="51" y="104"/>
                      </a:lnTo>
                      <a:lnTo>
                        <a:pt x="68" y="90"/>
                      </a:lnTo>
                      <a:lnTo>
                        <a:pt x="79" y="91"/>
                      </a:lnTo>
                      <a:lnTo>
                        <a:pt x="101" y="19"/>
                      </a:lnTo>
                      <a:lnTo>
                        <a:pt x="79" y="12"/>
                      </a:lnTo>
                      <a:lnTo>
                        <a:pt x="65" y="16"/>
                      </a:lnTo>
                      <a:lnTo>
                        <a:pt x="56" y="7"/>
                      </a:lnTo>
                      <a:lnTo>
                        <a:pt x="25" y="0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5" name="Freeform 64"/>
                <p:cNvSpPr>
                  <a:spLocks/>
                </p:cNvSpPr>
                <p:nvPr/>
              </p:nvSpPr>
              <p:spPr bwMode="gray">
                <a:xfrm>
                  <a:off x="2674938" y="4108450"/>
                  <a:ext cx="139700" cy="138113"/>
                </a:xfrm>
                <a:custGeom>
                  <a:avLst/>
                  <a:gdLst>
                    <a:gd name="T0" fmla="*/ 64 w 88"/>
                    <a:gd name="T1" fmla="*/ 73 h 87"/>
                    <a:gd name="T2" fmla="*/ 72 w 88"/>
                    <a:gd name="T3" fmla="*/ 60 h 87"/>
                    <a:gd name="T4" fmla="*/ 88 w 88"/>
                    <a:gd name="T5" fmla="*/ 36 h 87"/>
                    <a:gd name="T6" fmla="*/ 73 w 88"/>
                    <a:gd name="T7" fmla="*/ 0 h 87"/>
                    <a:gd name="T8" fmla="*/ 43 w 88"/>
                    <a:gd name="T9" fmla="*/ 9 h 87"/>
                    <a:gd name="T10" fmla="*/ 24 w 88"/>
                    <a:gd name="T11" fmla="*/ 0 h 87"/>
                    <a:gd name="T12" fmla="*/ 0 w 88"/>
                    <a:gd name="T13" fmla="*/ 13 h 87"/>
                    <a:gd name="T14" fmla="*/ 7 w 88"/>
                    <a:gd name="T15" fmla="*/ 32 h 87"/>
                    <a:gd name="T16" fmla="*/ 20 w 88"/>
                    <a:gd name="T17" fmla="*/ 49 h 87"/>
                    <a:gd name="T18" fmla="*/ 28 w 88"/>
                    <a:gd name="T19" fmla="*/ 76 h 87"/>
                    <a:gd name="T20" fmla="*/ 37 w 88"/>
                    <a:gd name="T21" fmla="*/ 87 h 87"/>
                    <a:gd name="T22" fmla="*/ 47 w 88"/>
                    <a:gd name="T23" fmla="*/ 71 h 87"/>
                    <a:gd name="T24" fmla="*/ 64 w 88"/>
                    <a:gd name="T25" fmla="*/ 73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88" h="87">
                      <a:moveTo>
                        <a:pt x="64" y="73"/>
                      </a:moveTo>
                      <a:lnTo>
                        <a:pt x="72" y="60"/>
                      </a:lnTo>
                      <a:lnTo>
                        <a:pt x="88" y="36"/>
                      </a:lnTo>
                      <a:lnTo>
                        <a:pt x="73" y="0"/>
                      </a:lnTo>
                      <a:lnTo>
                        <a:pt x="43" y="9"/>
                      </a:lnTo>
                      <a:lnTo>
                        <a:pt x="24" y="0"/>
                      </a:lnTo>
                      <a:lnTo>
                        <a:pt x="0" y="13"/>
                      </a:lnTo>
                      <a:lnTo>
                        <a:pt x="7" y="32"/>
                      </a:lnTo>
                      <a:lnTo>
                        <a:pt x="20" y="49"/>
                      </a:lnTo>
                      <a:lnTo>
                        <a:pt x="28" y="76"/>
                      </a:lnTo>
                      <a:lnTo>
                        <a:pt x="37" y="87"/>
                      </a:lnTo>
                      <a:lnTo>
                        <a:pt x="47" y="71"/>
                      </a:lnTo>
                      <a:lnTo>
                        <a:pt x="64" y="73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6" name="Freeform 65"/>
                <p:cNvSpPr>
                  <a:spLocks/>
                </p:cNvSpPr>
                <p:nvPr/>
              </p:nvSpPr>
              <p:spPr bwMode="gray">
                <a:xfrm>
                  <a:off x="2622550" y="4013200"/>
                  <a:ext cx="168275" cy="115888"/>
                </a:xfrm>
                <a:custGeom>
                  <a:avLst/>
                  <a:gdLst>
                    <a:gd name="T0" fmla="*/ 10 w 106"/>
                    <a:gd name="T1" fmla="*/ 69 h 73"/>
                    <a:gd name="T2" fmla="*/ 0 w 106"/>
                    <a:gd name="T3" fmla="*/ 49 h 73"/>
                    <a:gd name="T4" fmla="*/ 12 w 106"/>
                    <a:gd name="T5" fmla="*/ 40 h 73"/>
                    <a:gd name="T6" fmla="*/ 2 w 106"/>
                    <a:gd name="T7" fmla="*/ 11 h 73"/>
                    <a:gd name="T8" fmla="*/ 14 w 106"/>
                    <a:gd name="T9" fmla="*/ 0 h 73"/>
                    <a:gd name="T10" fmla="*/ 32 w 106"/>
                    <a:gd name="T11" fmla="*/ 12 h 73"/>
                    <a:gd name="T12" fmla="*/ 85 w 106"/>
                    <a:gd name="T13" fmla="*/ 8 h 73"/>
                    <a:gd name="T14" fmla="*/ 92 w 106"/>
                    <a:gd name="T15" fmla="*/ 19 h 73"/>
                    <a:gd name="T16" fmla="*/ 106 w 106"/>
                    <a:gd name="T17" fmla="*/ 29 h 73"/>
                    <a:gd name="T18" fmla="*/ 106 w 106"/>
                    <a:gd name="T19" fmla="*/ 60 h 73"/>
                    <a:gd name="T20" fmla="*/ 76 w 106"/>
                    <a:gd name="T21" fmla="*/ 69 h 73"/>
                    <a:gd name="T22" fmla="*/ 57 w 106"/>
                    <a:gd name="T23" fmla="*/ 60 h 73"/>
                    <a:gd name="T24" fmla="*/ 33 w 106"/>
                    <a:gd name="T25" fmla="*/ 73 h 73"/>
                    <a:gd name="T26" fmla="*/ 10 w 106"/>
                    <a:gd name="T27" fmla="*/ 69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06" h="73">
                      <a:moveTo>
                        <a:pt x="10" y="69"/>
                      </a:moveTo>
                      <a:lnTo>
                        <a:pt x="0" y="49"/>
                      </a:lnTo>
                      <a:lnTo>
                        <a:pt x="12" y="40"/>
                      </a:lnTo>
                      <a:lnTo>
                        <a:pt x="2" y="11"/>
                      </a:lnTo>
                      <a:lnTo>
                        <a:pt x="14" y="0"/>
                      </a:lnTo>
                      <a:lnTo>
                        <a:pt x="32" y="12"/>
                      </a:lnTo>
                      <a:lnTo>
                        <a:pt x="85" y="8"/>
                      </a:lnTo>
                      <a:lnTo>
                        <a:pt x="92" y="19"/>
                      </a:lnTo>
                      <a:lnTo>
                        <a:pt x="106" y="29"/>
                      </a:lnTo>
                      <a:lnTo>
                        <a:pt x="106" y="60"/>
                      </a:lnTo>
                      <a:lnTo>
                        <a:pt x="76" y="69"/>
                      </a:lnTo>
                      <a:lnTo>
                        <a:pt x="57" y="60"/>
                      </a:lnTo>
                      <a:lnTo>
                        <a:pt x="33" y="73"/>
                      </a:lnTo>
                      <a:lnTo>
                        <a:pt x="10" y="69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8" name="Freeform 67"/>
                <p:cNvSpPr>
                  <a:spLocks/>
                </p:cNvSpPr>
                <p:nvPr/>
              </p:nvSpPr>
              <p:spPr bwMode="gray">
                <a:xfrm>
                  <a:off x="2581275" y="4122738"/>
                  <a:ext cx="138112" cy="152400"/>
                </a:xfrm>
                <a:custGeom>
                  <a:avLst/>
                  <a:gdLst>
                    <a:gd name="T0" fmla="*/ 59 w 87"/>
                    <a:gd name="T1" fmla="*/ 4 h 96"/>
                    <a:gd name="T2" fmla="*/ 66 w 87"/>
                    <a:gd name="T3" fmla="*/ 23 h 96"/>
                    <a:gd name="T4" fmla="*/ 79 w 87"/>
                    <a:gd name="T5" fmla="*/ 40 h 96"/>
                    <a:gd name="T6" fmla="*/ 87 w 87"/>
                    <a:gd name="T7" fmla="*/ 67 h 96"/>
                    <a:gd name="T8" fmla="*/ 63 w 87"/>
                    <a:gd name="T9" fmla="*/ 83 h 96"/>
                    <a:gd name="T10" fmla="*/ 64 w 87"/>
                    <a:gd name="T11" fmla="*/ 92 h 96"/>
                    <a:gd name="T12" fmla="*/ 48 w 87"/>
                    <a:gd name="T13" fmla="*/ 96 h 96"/>
                    <a:gd name="T14" fmla="*/ 31 w 87"/>
                    <a:gd name="T15" fmla="*/ 90 h 96"/>
                    <a:gd name="T16" fmla="*/ 34 w 87"/>
                    <a:gd name="T17" fmla="*/ 64 h 96"/>
                    <a:gd name="T18" fmla="*/ 16 w 87"/>
                    <a:gd name="T19" fmla="*/ 56 h 96"/>
                    <a:gd name="T20" fmla="*/ 0 w 87"/>
                    <a:gd name="T21" fmla="*/ 31 h 96"/>
                    <a:gd name="T22" fmla="*/ 12 w 87"/>
                    <a:gd name="T23" fmla="*/ 10 h 96"/>
                    <a:gd name="T24" fmla="*/ 36 w 87"/>
                    <a:gd name="T25" fmla="*/ 0 h 96"/>
                    <a:gd name="T26" fmla="*/ 59 w 87"/>
                    <a:gd name="T27" fmla="*/ 4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87" h="96">
                      <a:moveTo>
                        <a:pt x="59" y="4"/>
                      </a:moveTo>
                      <a:lnTo>
                        <a:pt x="66" y="23"/>
                      </a:lnTo>
                      <a:lnTo>
                        <a:pt x="79" y="40"/>
                      </a:lnTo>
                      <a:lnTo>
                        <a:pt x="87" y="67"/>
                      </a:lnTo>
                      <a:lnTo>
                        <a:pt x="63" y="83"/>
                      </a:lnTo>
                      <a:lnTo>
                        <a:pt x="64" y="92"/>
                      </a:lnTo>
                      <a:lnTo>
                        <a:pt x="48" y="96"/>
                      </a:lnTo>
                      <a:lnTo>
                        <a:pt x="31" y="90"/>
                      </a:lnTo>
                      <a:lnTo>
                        <a:pt x="34" y="64"/>
                      </a:lnTo>
                      <a:lnTo>
                        <a:pt x="16" y="56"/>
                      </a:lnTo>
                      <a:lnTo>
                        <a:pt x="0" y="31"/>
                      </a:lnTo>
                      <a:lnTo>
                        <a:pt x="12" y="10"/>
                      </a:lnTo>
                      <a:lnTo>
                        <a:pt x="36" y="0"/>
                      </a:lnTo>
                      <a:lnTo>
                        <a:pt x="59" y="4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69" name="Freeform 68"/>
                <p:cNvSpPr>
                  <a:spLocks/>
                </p:cNvSpPr>
                <p:nvPr/>
              </p:nvSpPr>
              <p:spPr bwMode="gray">
                <a:xfrm>
                  <a:off x="2657475" y="4221163"/>
                  <a:ext cx="150812" cy="142875"/>
                </a:xfrm>
                <a:custGeom>
                  <a:avLst/>
                  <a:gdLst>
                    <a:gd name="T0" fmla="*/ 44 w 71"/>
                    <a:gd name="T1" fmla="*/ 66 h 68"/>
                    <a:gd name="T2" fmla="*/ 42 w 71"/>
                    <a:gd name="T3" fmla="*/ 68 h 68"/>
                    <a:gd name="T4" fmla="*/ 22 w 71"/>
                    <a:gd name="T5" fmla="*/ 45 h 68"/>
                    <a:gd name="T6" fmla="*/ 1 w 71"/>
                    <a:gd name="T7" fmla="*/ 35 h 68"/>
                    <a:gd name="T8" fmla="*/ 0 w 71"/>
                    <a:gd name="T9" fmla="*/ 35 h 68"/>
                    <a:gd name="T10" fmla="*/ 0 w 71"/>
                    <a:gd name="T11" fmla="*/ 26 h 68"/>
                    <a:gd name="T12" fmla="*/ 12 w 71"/>
                    <a:gd name="T13" fmla="*/ 23 h 68"/>
                    <a:gd name="T14" fmla="*/ 11 w 71"/>
                    <a:gd name="T15" fmla="*/ 16 h 68"/>
                    <a:gd name="T16" fmla="*/ 29 w 71"/>
                    <a:gd name="T17" fmla="*/ 4 h 68"/>
                    <a:gd name="T18" fmla="*/ 36 w 71"/>
                    <a:gd name="T19" fmla="*/ 12 h 68"/>
                    <a:gd name="T20" fmla="*/ 43 w 71"/>
                    <a:gd name="T21" fmla="*/ 0 h 68"/>
                    <a:gd name="T22" fmla="*/ 56 w 71"/>
                    <a:gd name="T23" fmla="*/ 2 h 68"/>
                    <a:gd name="T24" fmla="*/ 58 w 71"/>
                    <a:gd name="T25" fmla="*/ 12 h 68"/>
                    <a:gd name="T26" fmla="*/ 71 w 71"/>
                    <a:gd name="T27" fmla="*/ 16 h 68"/>
                    <a:gd name="T28" fmla="*/ 63 w 71"/>
                    <a:gd name="T29" fmla="*/ 26 h 68"/>
                    <a:gd name="T30" fmla="*/ 49 w 71"/>
                    <a:gd name="T31" fmla="*/ 43 h 68"/>
                    <a:gd name="T32" fmla="*/ 57 w 71"/>
                    <a:gd name="T33" fmla="*/ 56 h 68"/>
                    <a:gd name="T34" fmla="*/ 44 w 71"/>
                    <a:gd name="T35" fmla="*/ 66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1" h="68">
                      <a:moveTo>
                        <a:pt x="44" y="66"/>
                      </a:moveTo>
                      <a:cubicBezTo>
                        <a:pt x="42" y="68"/>
                        <a:pt x="42" y="68"/>
                        <a:pt x="42" y="68"/>
                      </a:cubicBezTo>
                      <a:cubicBezTo>
                        <a:pt x="22" y="45"/>
                        <a:pt x="22" y="45"/>
                        <a:pt x="22" y="45"/>
                      </a:cubicBezTo>
                      <a:cubicBezTo>
                        <a:pt x="22" y="45"/>
                        <a:pt x="4" y="36"/>
                        <a:pt x="1" y="35"/>
                      </a:cubicBezTo>
                      <a:cubicBezTo>
                        <a:pt x="0" y="35"/>
                        <a:pt x="0" y="35"/>
                        <a:pt x="0" y="35"/>
                      </a:cubicBezTo>
                      <a:cubicBezTo>
                        <a:pt x="0" y="26"/>
                        <a:pt x="0" y="26"/>
                        <a:pt x="0" y="26"/>
                      </a:cubicBezTo>
                      <a:cubicBezTo>
                        <a:pt x="12" y="23"/>
                        <a:pt x="12" y="23"/>
                        <a:pt x="12" y="23"/>
                      </a:cubicBezTo>
                      <a:cubicBezTo>
                        <a:pt x="11" y="16"/>
                        <a:pt x="11" y="16"/>
                        <a:pt x="11" y="16"/>
                      </a:cubicBezTo>
                      <a:cubicBezTo>
                        <a:pt x="29" y="4"/>
                        <a:pt x="29" y="4"/>
                        <a:pt x="29" y="4"/>
                      </a:cubicBezTo>
                      <a:cubicBezTo>
                        <a:pt x="36" y="12"/>
                        <a:pt x="36" y="12"/>
                        <a:pt x="36" y="12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56" y="2"/>
                        <a:pt x="56" y="2"/>
                        <a:pt x="56" y="2"/>
                      </a:cubicBezTo>
                      <a:cubicBezTo>
                        <a:pt x="58" y="12"/>
                        <a:pt x="58" y="12"/>
                        <a:pt x="58" y="12"/>
                      </a:cubicBezTo>
                      <a:cubicBezTo>
                        <a:pt x="71" y="16"/>
                        <a:pt x="71" y="16"/>
                        <a:pt x="71" y="16"/>
                      </a:cubicBezTo>
                      <a:cubicBezTo>
                        <a:pt x="63" y="26"/>
                        <a:pt x="63" y="26"/>
                        <a:pt x="63" y="26"/>
                      </a:cubicBezTo>
                      <a:cubicBezTo>
                        <a:pt x="49" y="43"/>
                        <a:pt x="49" y="43"/>
                        <a:pt x="49" y="43"/>
                      </a:cubicBezTo>
                      <a:cubicBezTo>
                        <a:pt x="57" y="56"/>
                        <a:pt x="57" y="56"/>
                        <a:pt x="57" y="56"/>
                      </a:cubicBezTo>
                      <a:lnTo>
                        <a:pt x="44" y="66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0" name="Freeform 69"/>
                <p:cNvSpPr>
                  <a:spLocks/>
                </p:cNvSpPr>
                <p:nvPr/>
              </p:nvSpPr>
              <p:spPr bwMode="gray">
                <a:xfrm>
                  <a:off x="2478088" y="4171950"/>
                  <a:ext cx="182562" cy="158750"/>
                </a:xfrm>
                <a:custGeom>
                  <a:avLst/>
                  <a:gdLst>
                    <a:gd name="T0" fmla="*/ 99 w 115"/>
                    <a:gd name="T1" fmla="*/ 100 h 100"/>
                    <a:gd name="T2" fmla="*/ 115 w 115"/>
                    <a:gd name="T3" fmla="*/ 92 h 100"/>
                    <a:gd name="T4" fmla="*/ 113 w 115"/>
                    <a:gd name="T5" fmla="*/ 77 h 100"/>
                    <a:gd name="T6" fmla="*/ 113 w 115"/>
                    <a:gd name="T7" fmla="*/ 65 h 100"/>
                    <a:gd name="T8" fmla="*/ 96 w 115"/>
                    <a:gd name="T9" fmla="*/ 59 h 100"/>
                    <a:gd name="T10" fmla="*/ 99 w 115"/>
                    <a:gd name="T11" fmla="*/ 33 h 100"/>
                    <a:gd name="T12" fmla="*/ 81 w 115"/>
                    <a:gd name="T13" fmla="*/ 25 h 100"/>
                    <a:gd name="T14" fmla="*/ 65 w 115"/>
                    <a:gd name="T15" fmla="*/ 0 h 100"/>
                    <a:gd name="T16" fmla="*/ 40 w 115"/>
                    <a:gd name="T17" fmla="*/ 5 h 100"/>
                    <a:gd name="T18" fmla="*/ 24 w 115"/>
                    <a:gd name="T19" fmla="*/ 0 h 100"/>
                    <a:gd name="T20" fmla="*/ 0 w 115"/>
                    <a:gd name="T21" fmla="*/ 12 h 100"/>
                    <a:gd name="T22" fmla="*/ 19 w 115"/>
                    <a:gd name="T23" fmla="*/ 36 h 100"/>
                    <a:gd name="T24" fmla="*/ 13 w 115"/>
                    <a:gd name="T25" fmla="*/ 49 h 100"/>
                    <a:gd name="T26" fmla="*/ 57 w 115"/>
                    <a:gd name="T27" fmla="*/ 76 h 100"/>
                    <a:gd name="T28" fmla="*/ 81 w 115"/>
                    <a:gd name="T29" fmla="*/ 79 h 100"/>
                    <a:gd name="T30" fmla="*/ 99 w 115"/>
                    <a:gd name="T31" fmla="*/ 100 h 1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15" h="100">
                      <a:moveTo>
                        <a:pt x="99" y="100"/>
                      </a:moveTo>
                      <a:lnTo>
                        <a:pt x="115" y="92"/>
                      </a:lnTo>
                      <a:lnTo>
                        <a:pt x="113" y="77"/>
                      </a:lnTo>
                      <a:lnTo>
                        <a:pt x="113" y="65"/>
                      </a:lnTo>
                      <a:lnTo>
                        <a:pt x="96" y="59"/>
                      </a:lnTo>
                      <a:lnTo>
                        <a:pt x="99" y="33"/>
                      </a:lnTo>
                      <a:lnTo>
                        <a:pt x="81" y="25"/>
                      </a:lnTo>
                      <a:lnTo>
                        <a:pt x="65" y="0"/>
                      </a:lnTo>
                      <a:lnTo>
                        <a:pt x="40" y="5"/>
                      </a:lnTo>
                      <a:lnTo>
                        <a:pt x="24" y="0"/>
                      </a:lnTo>
                      <a:lnTo>
                        <a:pt x="0" y="12"/>
                      </a:lnTo>
                      <a:lnTo>
                        <a:pt x="19" y="36"/>
                      </a:lnTo>
                      <a:lnTo>
                        <a:pt x="13" y="49"/>
                      </a:lnTo>
                      <a:lnTo>
                        <a:pt x="57" y="76"/>
                      </a:lnTo>
                      <a:lnTo>
                        <a:pt x="81" y="79"/>
                      </a:lnTo>
                      <a:lnTo>
                        <a:pt x="99" y="100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1" name="Freeform 70"/>
                <p:cNvSpPr>
                  <a:spLocks/>
                </p:cNvSpPr>
                <p:nvPr/>
              </p:nvSpPr>
              <p:spPr bwMode="gray">
                <a:xfrm>
                  <a:off x="2587625" y="4294188"/>
                  <a:ext cx="220662" cy="225425"/>
                </a:xfrm>
                <a:custGeom>
                  <a:avLst/>
                  <a:gdLst>
                    <a:gd name="T0" fmla="*/ 33 w 104"/>
                    <a:gd name="T1" fmla="*/ 0 h 106"/>
                    <a:gd name="T2" fmla="*/ 34 w 104"/>
                    <a:gd name="T3" fmla="*/ 11 h 106"/>
                    <a:gd name="T4" fmla="*/ 22 w 104"/>
                    <a:gd name="T5" fmla="*/ 17 h 106"/>
                    <a:gd name="T6" fmla="*/ 24 w 104"/>
                    <a:gd name="T7" fmla="*/ 18 h 106"/>
                    <a:gd name="T8" fmla="*/ 19 w 104"/>
                    <a:gd name="T9" fmla="*/ 51 h 106"/>
                    <a:gd name="T10" fmla="*/ 0 w 104"/>
                    <a:gd name="T11" fmla="*/ 72 h 106"/>
                    <a:gd name="T12" fmla="*/ 11 w 104"/>
                    <a:gd name="T13" fmla="*/ 93 h 106"/>
                    <a:gd name="T14" fmla="*/ 20 w 104"/>
                    <a:gd name="T15" fmla="*/ 92 h 106"/>
                    <a:gd name="T16" fmla="*/ 31 w 104"/>
                    <a:gd name="T17" fmla="*/ 106 h 106"/>
                    <a:gd name="T18" fmla="*/ 50 w 104"/>
                    <a:gd name="T19" fmla="*/ 100 h 106"/>
                    <a:gd name="T20" fmla="*/ 59 w 104"/>
                    <a:gd name="T21" fmla="*/ 92 h 106"/>
                    <a:gd name="T22" fmla="*/ 57 w 104"/>
                    <a:gd name="T23" fmla="*/ 79 h 106"/>
                    <a:gd name="T24" fmla="*/ 82 w 104"/>
                    <a:gd name="T25" fmla="*/ 76 h 106"/>
                    <a:gd name="T26" fmla="*/ 90 w 104"/>
                    <a:gd name="T27" fmla="*/ 85 h 106"/>
                    <a:gd name="T28" fmla="*/ 102 w 104"/>
                    <a:gd name="T29" fmla="*/ 88 h 106"/>
                    <a:gd name="T30" fmla="*/ 104 w 104"/>
                    <a:gd name="T31" fmla="*/ 88 h 106"/>
                    <a:gd name="T32" fmla="*/ 104 w 104"/>
                    <a:gd name="T33" fmla="*/ 67 h 106"/>
                    <a:gd name="T34" fmla="*/ 80 w 104"/>
                    <a:gd name="T35" fmla="*/ 43 h 106"/>
                    <a:gd name="T36" fmla="*/ 77 w 104"/>
                    <a:gd name="T37" fmla="*/ 31 h 106"/>
                    <a:gd name="T38" fmla="*/ 75 w 104"/>
                    <a:gd name="T39" fmla="*/ 33 h 106"/>
                    <a:gd name="T40" fmla="*/ 55 w 104"/>
                    <a:gd name="T41" fmla="*/ 10 h 106"/>
                    <a:gd name="T42" fmla="*/ 34 w 104"/>
                    <a:gd name="T43" fmla="*/ 0 h 106"/>
                    <a:gd name="T44" fmla="*/ 33 w 104"/>
                    <a:gd name="T45" fmla="*/ 0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04" h="106">
                      <a:moveTo>
                        <a:pt x="33" y="0"/>
                      </a:moveTo>
                      <a:cubicBezTo>
                        <a:pt x="34" y="11"/>
                        <a:pt x="34" y="11"/>
                        <a:pt x="34" y="11"/>
                      </a:cubicBezTo>
                      <a:cubicBezTo>
                        <a:pt x="22" y="17"/>
                        <a:pt x="22" y="17"/>
                        <a:pt x="22" y="17"/>
                      </a:cubicBezTo>
                      <a:cubicBezTo>
                        <a:pt x="24" y="18"/>
                        <a:pt x="24" y="18"/>
                        <a:pt x="24" y="18"/>
                      </a:cubicBezTo>
                      <a:cubicBezTo>
                        <a:pt x="19" y="51"/>
                        <a:pt x="19" y="51"/>
                        <a:pt x="19" y="51"/>
                      </a:cubicBezTo>
                      <a:cubicBezTo>
                        <a:pt x="0" y="72"/>
                        <a:pt x="0" y="72"/>
                        <a:pt x="0" y="72"/>
                      </a:cubicBezTo>
                      <a:cubicBezTo>
                        <a:pt x="11" y="93"/>
                        <a:pt x="11" y="93"/>
                        <a:pt x="11" y="93"/>
                      </a:cubicBezTo>
                      <a:cubicBezTo>
                        <a:pt x="20" y="92"/>
                        <a:pt x="20" y="92"/>
                        <a:pt x="20" y="92"/>
                      </a:cubicBezTo>
                      <a:cubicBezTo>
                        <a:pt x="31" y="106"/>
                        <a:pt x="31" y="106"/>
                        <a:pt x="31" y="106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9" y="92"/>
                        <a:pt x="59" y="92"/>
                        <a:pt x="59" y="92"/>
                      </a:cubicBezTo>
                      <a:cubicBezTo>
                        <a:pt x="57" y="79"/>
                        <a:pt x="57" y="79"/>
                        <a:pt x="57" y="79"/>
                      </a:cubicBezTo>
                      <a:cubicBezTo>
                        <a:pt x="82" y="76"/>
                        <a:pt x="82" y="76"/>
                        <a:pt x="82" y="76"/>
                      </a:cubicBezTo>
                      <a:cubicBezTo>
                        <a:pt x="90" y="85"/>
                        <a:pt x="90" y="85"/>
                        <a:pt x="90" y="85"/>
                      </a:cubicBezTo>
                      <a:cubicBezTo>
                        <a:pt x="102" y="88"/>
                        <a:pt x="102" y="88"/>
                        <a:pt x="102" y="88"/>
                      </a:cubicBezTo>
                      <a:cubicBezTo>
                        <a:pt x="104" y="88"/>
                        <a:pt x="104" y="88"/>
                        <a:pt x="104" y="88"/>
                      </a:cubicBezTo>
                      <a:cubicBezTo>
                        <a:pt x="104" y="67"/>
                        <a:pt x="104" y="67"/>
                        <a:pt x="104" y="67"/>
                      </a:cubicBezTo>
                      <a:cubicBezTo>
                        <a:pt x="80" y="43"/>
                        <a:pt x="80" y="43"/>
                        <a:pt x="80" y="43"/>
                      </a:cubicBezTo>
                      <a:cubicBezTo>
                        <a:pt x="77" y="31"/>
                        <a:pt x="77" y="31"/>
                        <a:pt x="77" y="31"/>
                      </a:cubicBezTo>
                      <a:cubicBezTo>
                        <a:pt x="75" y="33"/>
                        <a:pt x="75" y="33"/>
                        <a:pt x="75" y="33"/>
                      </a:cubicBezTo>
                      <a:cubicBezTo>
                        <a:pt x="55" y="10"/>
                        <a:pt x="55" y="10"/>
                        <a:pt x="55" y="10"/>
                      </a:cubicBezTo>
                      <a:cubicBezTo>
                        <a:pt x="55" y="10"/>
                        <a:pt x="37" y="1"/>
                        <a:pt x="34" y="0"/>
                      </a:cubicBezTo>
                      <a:lnTo>
                        <a:pt x="33" y="0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2" name="Freeform 71"/>
                <p:cNvSpPr>
                  <a:spLocks/>
                </p:cNvSpPr>
                <p:nvPr/>
              </p:nvSpPr>
              <p:spPr bwMode="gray">
                <a:xfrm>
                  <a:off x="2409825" y="4489450"/>
                  <a:ext cx="298450" cy="322263"/>
                </a:xfrm>
                <a:custGeom>
                  <a:avLst/>
                  <a:gdLst>
                    <a:gd name="T0" fmla="*/ 114 w 141"/>
                    <a:gd name="T1" fmla="*/ 115 h 152"/>
                    <a:gd name="T2" fmla="*/ 104 w 141"/>
                    <a:gd name="T3" fmla="*/ 105 h 152"/>
                    <a:gd name="T4" fmla="*/ 109 w 141"/>
                    <a:gd name="T5" fmla="*/ 86 h 152"/>
                    <a:gd name="T6" fmla="*/ 95 w 141"/>
                    <a:gd name="T7" fmla="*/ 72 h 152"/>
                    <a:gd name="T8" fmla="*/ 100 w 141"/>
                    <a:gd name="T9" fmla="*/ 68 h 152"/>
                    <a:gd name="T10" fmla="*/ 130 w 141"/>
                    <a:gd name="T11" fmla="*/ 66 h 152"/>
                    <a:gd name="T12" fmla="*/ 126 w 141"/>
                    <a:gd name="T13" fmla="*/ 48 h 152"/>
                    <a:gd name="T14" fmla="*/ 132 w 141"/>
                    <a:gd name="T15" fmla="*/ 31 h 152"/>
                    <a:gd name="T16" fmla="*/ 141 w 141"/>
                    <a:gd name="T17" fmla="*/ 28 h 152"/>
                    <a:gd name="T18" fmla="*/ 134 w 141"/>
                    <a:gd name="T19" fmla="*/ 8 h 152"/>
                    <a:gd name="T20" fmla="*/ 115 w 141"/>
                    <a:gd name="T21" fmla="*/ 14 h 152"/>
                    <a:gd name="T22" fmla="*/ 104 w 141"/>
                    <a:gd name="T23" fmla="*/ 0 h 152"/>
                    <a:gd name="T24" fmla="*/ 95 w 141"/>
                    <a:gd name="T25" fmla="*/ 1 h 152"/>
                    <a:gd name="T26" fmla="*/ 70 w 141"/>
                    <a:gd name="T27" fmla="*/ 12 h 152"/>
                    <a:gd name="T28" fmla="*/ 72 w 141"/>
                    <a:gd name="T29" fmla="*/ 21 h 152"/>
                    <a:gd name="T30" fmla="*/ 48 w 141"/>
                    <a:gd name="T31" fmla="*/ 43 h 152"/>
                    <a:gd name="T32" fmla="*/ 32 w 141"/>
                    <a:gd name="T33" fmla="*/ 32 h 152"/>
                    <a:gd name="T34" fmla="*/ 30 w 141"/>
                    <a:gd name="T35" fmla="*/ 31 h 152"/>
                    <a:gd name="T36" fmla="*/ 10 w 141"/>
                    <a:gd name="T37" fmla="*/ 28 h 152"/>
                    <a:gd name="T38" fmla="*/ 0 w 141"/>
                    <a:gd name="T39" fmla="*/ 36 h 152"/>
                    <a:gd name="T40" fmla="*/ 13 w 141"/>
                    <a:gd name="T41" fmla="*/ 48 h 152"/>
                    <a:gd name="T42" fmla="*/ 1 w 141"/>
                    <a:gd name="T43" fmla="*/ 47 h 152"/>
                    <a:gd name="T44" fmla="*/ 4 w 141"/>
                    <a:gd name="T45" fmla="*/ 66 h 152"/>
                    <a:gd name="T46" fmla="*/ 24 w 141"/>
                    <a:gd name="T47" fmla="*/ 66 h 152"/>
                    <a:gd name="T48" fmla="*/ 27 w 141"/>
                    <a:gd name="T49" fmla="*/ 78 h 152"/>
                    <a:gd name="T50" fmla="*/ 18 w 141"/>
                    <a:gd name="T51" fmla="*/ 82 h 152"/>
                    <a:gd name="T52" fmla="*/ 16 w 141"/>
                    <a:gd name="T53" fmla="*/ 94 h 152"/>
                    <a:gd name="T54" fmla="*/ 31 w 141"/>
                    <a:gd name="T55" fmla="*/ 103 h 152"/>
                    <a:gd name="T56" fmla="*/ 29 w 141"/>
                    <a:gd name="T57" fmla="*/ 122 h 152"/>
                    <a:gd name="T58" fmla="*/ 48 w 141"/>
                    <a:gd name="T59" fmla="*/ 123 h 152"/>
                    <a:gd name="T60" fmla="*/ 60 w 141"/>
                    <a:gd name="T61" fmla="*/ 115 h 152"/>
                    <a:gd name="T62" fmla="*/ 68 w 141"/>
                    <a:gd name="T63" fmla="*/ 130 h 152"/>
                    <a:gd name="T64" fmla="*/ 75 w 141"/>
                    <a:gd name="T65" fmla="*/ 131 h 152"/>
                    <a:gd name="T66" fmla="*/ 71 w 141"/>
                    <a:gd name="T67" fmla="*/ 143 h 152"/>
                    <a:gd name="T68" fmla="*/ 80 w 141"/>
                    <a:gd name="T69" fmla="*/ 142 h 152"/>
                    <a:gd name="T70" fmla="*/ 93 w 141"/>
                    <a:gd name="T71" fmla="*/ 152 h 152"/>
                    <a:gd name="T72" fmla="*/ 128 w 141"/>
                    <a:gd name="T73" fmla="*/ 130 h 152"/>
                    <a:gd name="T74" fmla="*/ 126 w 141"/>
                    <a:gd name="T75" fmla="*/ 121 h 152"/>
                    <a:gd name="T76" fmla="*/ 112 w 141"/>
                    <a:gd name="T77" fmla="*/ 122 h 152"/>
                    <a:gd name="T78" fmla="*/ 114 w 141"/>
                    <a:gd name="T79" fmla="*/ 115 h 1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141" h="152">
                      <a:moveTo>
                        <a:pt x="114" y="115"/>
                      </a:moveTo>
                      <a:cubicBezTo>
                        <a:pt x="104" y="105"/>
                        <a:pt x="104" y="105"/>
                        <a:pt x="104" y="105"/>
                      </a:cubicBezTo>
                      <a:cubicBezTo>
                        <a:pt x="109" y="86"/>
                        <a:pt x="109" y="86"/>
                        <a:pt x="109" y="86"/>
                      </a:cubicBezTo>
                      <a:cubicBezTo>
                        <a:pt x="95" y="72"/>
                        <a:pt x="95" y="72"/>
                        <a:pt x="95" y="72"/>
                      </a:cubicBezTo>
                      <a:cubicBezTo>
                        <a:pt x="100" y="68"/>
                        <a:pt x="100" y="68"/>
                        <a:pt x="100" y="68"/>
                      </a:cubicBezTo>
                      <a:cubicBezTo>
                        <a:pt x="130" y="66"/>
                        <a:pt x="130" y="66"/>
                        <a:pt x="130" y="66"/>
                      </a:cubicBezTo>
                      <a:cubicBezTo>
                        <a:pt x="126" y="48"/>
                        <a:pt x="126" y="48"/>
                        <a:pt x="126" y="48"/>
                      </a:cubicBezTo>
                      <a:cubicBezTo>
                        <a:pt x="132" y="31"/>
                        <a:pt x="132" y="31"/>
                        <a:pt x="132" y="31"/>
                      </a:cubicBezTo>
                      <a:cubicBezTo>
                        <a:pt x="141" y="28"/>
                        <a:pt x="141" y="28"/>
                        <a:pt x="141" y="28"/>
                      </a:cubicBezTo>
                      <a:cubicBezTo>
                        <a:pt x="134" y="8"/>
                        <a:pt x="134" y="8"/>
                        <a:pt x="134" y="8"/>
                      </a:cubicBezTo>
                      <a:cubicBezTo>
                        <a:pt x="115" y="14"/>
                        <a:pt x="115" y="14"/>
                        <a:pt x="115" y="14"/>
                      </a:cubicBezTo>
                      <a:cubicBezTo>
                        <a:pt x="104" y="0"/>
                        <a:pt x="104" y="0"/>
                        <a:pt x="104" y="0"/>
                      </a:cubicBezTo>
                      <a:cubicBezTo>
                        <a:pt x="95" y="1"/>
                        <a:pt x="95" y="1"/>
                        <a:pt x="95" y="1"/>
                      </a:cubicBezTo>
                      <a:cubicBezTo>
                        <a:pt x="70" y="12"/>
                        <a:pt x="70" y="12"/>
                        <a:pt x="70" y="12"/>
                      </a:cubicBezTo>
                      <a:cubicBezTo>
                        <a:pt x="72" y="21"/>
                        <a:pt x="72" y="21"/>
                        <a:pt x="72" y="21"/>
                      </a:cubicBezTo>
                      <a:cubicBezTo>
                        <a:pt x="48" y="43"/>
                        <a:pt x="48" y="43"/>
                        <a:pt x="48" y="43"/>
                      </a:cubicBezTo>
                      <a:cubicBezTo>
                        <a:pt x="32" y="32"/>
                        <a:pt x="32" y="32"/>
                        <a:pt x="32" y="32"/>
                      </a:cubicBezTo>
                      <a:cubicBezTo>
                        <a:pt x="30" y="31"/>
                        <a:pt x="30" y="31"/>
                        <a:pt x="30" y="31"/>
                      </a:cubicBezTo>
                      <a:cubicBezTo>
                        <a:pt x="10" y="28"/>
                        <a:pt x="10" y="28"/>
                        <a:pt x="10" y="28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13" y="48"/>
                        <a:pt x="13" y="48"/>
                        <a:pt x="13" y="48"/>
                      </a:cubicBezTo>
                      <a:cubicBezTo>
                        <a:pt x="1" y="47"/>
                        <a:pt x="1" y="47"/>
                        <a:pt x="1" y="47"/>
                      </a:cubicBezTo>
                      <a:cubicBezTo>
                        <a:pt x="4" y="66"/>
                        <a:pt x="4" y="66"/>
                        <a:pt x="4" y="66"/>
                      </a:cubicBezTo>
                      <a:cubicBezTo>
                        <a:pt x="24" y="66"/>
                        <a:pt x="24" y="66"/>
                        <a:pt x="24" y="66"/>
                      </a:cubicBezTo>
                      <a:cubicBezTo>
                        <a:pt x="27" y="78"/>
                        <a:pt x="27" y="78"/>
                        <a:pt x="27" y="78"/>
                      </a:cubicBezTo>
                      <a:cubicBezTo>
                        <a:pt x="18" y="82"/>
                        <a:pt x="18" y="82"/>
                        <a:pt x="18" y="82"/>
                      </a:cubicBezTo>
                      <a:cubicBezTo>
                        <a:pt x="16" y="94"/>
                        <a:pt x="16" y="94"/>
                        <a:pt x="16" y="94"/>
                      </a:cubicBezTo>
                      <a:cubicBezTo>
                        <a:pt x="31" y="103"/>
                        <a:pt x="31" y="103"/>
                        <a:pt x="31" y="103"/>
                      </a:cubicBezTo>
                      <a:cubicBezTo>
                        <a:pt x="29" y="122"/>
                        <a:pt x="29" y="122"/>
                        <a:pt x="29" y="122"/>
                      </a:cubicBezTo>
                      <a:cubicBezTo>
                        <a:pt x="48" y="123"/>
                        <a:pt x="48" y="123"/>
                        <a:pt x="48" y="123"/>
                      </a:cubicBezTo>
                      <a:cubicBezTo>
                        <a:pt x="60" y="115"/>
                        <a:pt x="60" y="115"/>
                        <a:pt x="60" y="115"/>
                      </a:cubicBezTo>
                      <a:cubicBezTo>
                        <a:pt x="68" y="130"/>
                        <a:pt x="68" y="130"/>
                        <a:pt x="68" y="130"/>
                      </a:cubicBezTo>
                      <a:cubicBezTo>
                        <a:pt x="75" y="131"/>
                        <a:pt x="75" y="131"/>
                        <a:pt x="75" y="131"/>
                      </a:cubicBezTo>
                      <a:cubicBezTo>
                        <a:pt x="71" y="143"/>
                        <a:pt x="71" y="143"/>
                        <a:pt x="71" y="143"/>
                      </a:cubicBezTo>
                      <a:cubicBezTo>
                        <a:pt x="80" y="142"/>
                        <a:pt x="80" y="142"/>
                        <a:pt x="80" y="142"/>
                      </a:cubicBezTo>
                      <a:cubicBezTo>
                        <a:pt x="93" y="152"/>
                        <a:pt x="93" y="152"/>
                        <a:pt x="93" y="152"/>
                      </a:cubicBezTo>
                      <a:cubicBezTo>
                        <a:pt x="128" y="130"/>
                        <a:pt x="128" y="130"/>
                        <a:pt x="128" y="130"/>
                      </a:cubicBezTo>
                      <a:cubicBezTo>
                        <a:pt x="126" y="121"/>
                        <a:pt x="126" y="121"/>
                        <a:pt x="126" y="121"/>
                      </a:cubicBezTo>
                      <a:cubicBezTo>
                        <a:pt x="126" y="121"/>
                        <a:pt x="115" y="122"/>
                        <a:pt x="112" y="122"/>
                      </a:cubicBezTo>
                      <a:lnTo>
                        <a:pt x="114" y="115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3" name="Freeform 72"/>
                <p:cNvSpPr>
                  <a:spLocks/>
                </p:cNvSpPr>
                <p:nvPr/>
              </p:nvSpPr>
              <p:spPr bwMode="gray">
                <a:xfrm>
                  <a:off x="2484438" y="4249738"/>
                  <a:ext cx="153987" cy="196850"/>
                </a:xfrm>
                <a:custGeom>
                  <a:avLst/>
                  <a:gdLst>
                    <a:gd name="T0" fmla="*/ 97 w 97"/>
                    <a:gd name="T1" fmla="*/ 52 h 124"/>
                    <a:gd name="T2" fmla="*/ 95 w 97"/>
                    <a:gd name="T3" fmla="*/ 51 h 124"/>
                    <a:gd name="T4" fmla="*/ 77 w 97"/>
                    <a:gd name="T5" fmla="*/ 30 h 124"/>
                    <a:gd name="T6" fmla="*/ 53 w 97"/>
                    <a:gd name="T7" fmla="*/ 27 h 124"/>
                    <a:gd name="T8" fmla="*/ 9 w 97"/>
                    <a:gd name="T9" fmla="*/ 0 h 124"/>
                    <a:gd name="T10" fmla="*/ 0 w 97"/>
                    <a:gd name="T11" fmla="*/ 23 h 124"/>
                    <a:gd name="T12" fmla="*/ 15 w 97"/>
                    <a:gd name="T13" fmla="*/ 52 h 124"/>
                    <a:gd name="T14" fmla="*/ 35 w 97"/>
                    <a:gd name="T15" fmla="*/ 64 h 124"/>
                    <a:gd name="T16" fmla="*/ 40 w 97"/>
                    <a:gd name="T17" fmla="*/ 99 h 124"/>
                    <a:gd name="T18" fmla="*/ 56 w 97"/>
                    <a:gd name="T19" fmla="*/ 106 h 124"/>
                    <a:gd name="T20" fmla="*/ 65 w 97"/>
                    <a:gd name="T21" fmla="*/ 124 h 124"/>
                    <a:gd name="T22" fmla="*/ 91 w 97"/>
                    <a:gd name="T23" fmla="*/ 96 h 124"/>
                    <a:gd name="T24" fmla="*/ 97 w 97"/>
                    <a:gd name="T25" fmla="*/ 52 h 1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97" h="124">
                      <a:moveTo>
                        <a:pt x="97" y="52"/>
                      </a:moveTo>
                      <a:lnTo>
                        <a:pt x="95" y="51"/>
                      </a:lnTo>
                      <a:lnTo>
                        <a:pt x="77" y="30"/>
                      </a:lnTo>
                      <a:lnTo>
                        <a:pt x="53" y="27"/>
                      </a:lnTo>
                      <a:lnTo>
                        <a:pt x="9" y="0"/>
                      </a:lnTo>
                      <a:lnTo>
                        <a:pt x="0" y="23"/>
                      </a:lnTo>
                      <a:lnTo>
                        <a:pt x="15" y="52"/>
                      </a:lnTo>
                      <a:lnTo>
                        <a:pt x="35" y="64"/>
                      </a:lnTo>
                      <a:lnTo>
                        <a:pt x="40" y="99"/>
                      </a:lnTo>
                      <a:lnTo>
                        <a:pt x="56" y="106"/>
                      </a:lnTo>
                      <a:lnTo>
                        <a:pt x="65" y="124"/>
                      </a:lnTo>
                      <a:lnTo>
                        <a:pt x="91" y="96"/>
                      </a:lnTo>
                      <a:lnTo>
                        <a:pt x="97" y="52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4" name="Freeform 73"/>
                <p:cNvSpPr>
                  <a:spLocks/>
                </p:cNvSpPr>
                <p:nvPr/>
              </p:nvSpPr>
              <p:spPr bwMode="gray">
                <a:xfrm>
                  <a:off x="3562350" y="4154488"/>
                  <a:ext cx="400050" cy="463550"/>
                </a:xfrm>
                <a:custGeom>
                  <a:avLst/>
                  <a:gdLst>
                    <a:gd name="T0" fmla="*/ 0 w 252"/>
                    <a:gd name="T1" fmla="*/ 227 h 292"/>
                    <a:gd name="T2" fmla="*/ 15 w 252"/>
                    <a:gd name="T3" fmla="*/ 199 h 292"/>
                    <a:gd name="T4" fmla="*/ 36 w 252"/>
                    <a:gd name="T5" fmla="*/ 198 h 292"/>
                    <a:gd name="T6" fmla="*/ 41 w 252"/>
                    <a:gd name="T7" fmla="*/ 180 h 292"/>
                    <a:gd name="T8" fmla="*/ 52 w 252"/>
                    <a:gd name="T9" fmla="*/ 175 h 292"/>
                    <a:gd name="T10" fmla="*/ 68 w 252"/>
                    <a:gd name="T11" fmla="*/ 178 h 292"/>
                    <a:gd name="T12" fmla="*/ 72 w 252"/>
                    <a:gd name="T13" fmla="*/ 160 h 292"/>
                    <a:gd name="T14" fmla="*/ 99 w 252"/>
                    <a:gd name="T15" fmla="*/ 154 h 292"/>
                    <a:gd name="T16" fmla="*/ 104 w 252"/>
                    <a:gd name="T17" fmla="*/ 142 h 292"/>
                    <a:gd name="T18" fmla="*/ 93 w 252"/>
                    <a:gd name="T19" fmla="*/ 136 h 292"/>
                    <a:gd name="T20" fmla="*/ 99 w 252"/>
                    <a:gd name="T21" fmla="*/ 128 h 292"/>
                    <a:gd name="T22" fmla="*/ 99 w 252"/>
                    <a:gd name="T23" fmla="*/ 112 h 292"/>
                    <a:gd name="T24" fmla="*/ 91 w 252"/>
                    <a:gd name="T25" fmla="*/ 100 h 292"/>
                    <a:gd name="T26" fmla="*/ 96 w 252"/>
                    <a:gd name="T27" fmla="*/ 91 h 292"/>
                    <a:gd name="T28" fmla="*/ 117 w 252"/>
                    <a:gd name="T29" fmla="*/ 79 h 292"/>
                    <a:gd name="T30" fmla="*/ 148 w 252"/>
                    <a:gd name="T31" fmla="*/ 55 h 292"/>
                    <a:gd name="T32" fmla="*/ 152 w 252"/>
                    <a:gd name="T33" fmla="*/ 19 h 292"/>
                    <a:gd name="T34" fmla="*/ 175 w 252"/>
                    <a:gd name="T35" fmla="*/ 0 h 292"/>
                    <a:gd name="T36" fmla="*/ 181 w 252"/>
                    <a:gd name="T37" fmla="*/ 12 h 292"/>
                    <a:gd name="T38" fmla="*/ 205 w 252"/>
                    <a:gd name="T39" fmla="*/ 36 h 292"/>
                    <a:gd name="T40" fmla="*/ 217 w 252"/>
                    <a:gd name="T41" fmla="*/ 72 h 292"/>
                    <a:gd name="T42" fmla="*/ 213 w 252"/>
                    <a:gd name="T43" fmla="*/ 110 h 292"/>
                    <a:gd name="T44" fmla="*/ 223 w 252"/>
                    <a:gd name="T45" fmla="*/ 131 h 292"/>
                    <a:gd name="T46" fmla="*/ 217 w 252"/>
                    <a:gd name="T47" fmla="*/ 154 h 292"/>
                    <a:gd name="T48" fmla="*/ 243 w 252"/>
                    <a:gd name="T49" fmla="*/ 178 h 292"/>
                    <a:gd name="T50" fmla="*/ 251 w 252"/>
                    <a:gd name="T51" fmla="*/ 214 h 292"/>
                    <a:gd name="T52" fmla="*/ 252 w 252"/>
                    <a:gd name="T53" fmla="*/ 216 h 292"/>
                    <a:gd name="T54" fmla="*/ 235 w 252"/>
                    <a:gd name="T55" fmla="*/ 243 h 292"/>
                    <a:gd name="T56" fmla="*/ 216 w 252"/>
                    <a:gd name="T57" fmla="*/ 242 h 292"/>
                    <a:gd name="T58" fmla="*/ 204 w 252"/>
                    <a:gd name="T59" fmla="*/ 290 h 292"/>
                    <a:gd name="T60" fmla="*/ 201 w 252"/>
                    <a:gd name="T61" fmla="*/ 288 h 292"/>
                    <a:gd name="T62" fmla="*/ 191 w 252"/>
                    <a:gd name="T63" fmla="*/ 284 h 292"/>
                    <a:gd name="T64" fmla="*/ 169 w 252"/>
                    <a:gd name="T65" fmla="*/ 292 h 292"/>
                    <a:gd name="T66" fmla="*/ 143 w 252"/>
                    <a:gd name="T67" fmla="*/ 274 h 292"/>
                    <a:gd name="T68" fmla="*/ 131 w 252"/>
                    <a:gd name="T69" fmla="*/ 275 h 292"/>
                    <a:gd name="T70" fmla="*/ 116 w 252"/>
                    <a:gd name="T71" fmla="*/ 286 h 292"/>
                    <a:gd name="T72" fmla="*/ 99 w 252"/>
                    <a:gd name="T73" fmla="*/ 267 h 292"/>
                    <a:gd name="T74" fmla="*/ 76 w 252"/>
                    <a:gd name="T75" fmla="*/ 267 h 292"/>
                    <a:gd name="T76" fmla="*/ 52 w 252"/>
                    <a:gd name="T77" fmla="*/ 243 h 292"/>
                    <a:gd name="T78" fmla="*/ 45 w 252"/>
                    <a:gd name="T79" fmla="*/ 252 h 292"/>
                    <a:gd name="T80" fmla="*/ 11 w 252"/>
                    <a:gd name="T81" fmla="*/ 242 h 292"/>
                    <a:gd name="T82" fmla="*/ 0 w 252"/>
                    <a:gd name="T83" fmla="*/ 227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252" h="292">
                      <a:moveTo>
                        <a:pt x="0" y="227"/>
                      </a:moveTo>
                      <a:lnTo>
                        <a:pt x="15" y="199"/>
                      </a:lnTo>
                      <a:lnTo>
                        <a:pt x="36" y="198"/>
                      </a:lnTo>
                      <a:lnTo>
                        <a:pt x="41" y="180"/>
                      </a:lnTo>
                      <a:lnTo>
                        <a:pt x="52" y="175"/>
                      </a:lnTo>
                      <a:lnTo>
                        <a:pt x="68" y="178"/>
                      </a:lnTo>
                      <a:lnTo>
                        <a:pt x="72" y="160"/>
                      </a:lnTo>
                      <a:lnTo>
                        <a:pt x="99" y="154"/>
                      </a:lnTo>
                      <a:lnTo>
                        <a:pt x="104" y="142"/>
                      </a:lnTo>
                      <a:lnTo>
                        <a:pt x="93" y="136"/>
                      </a:lnTo>
                      <a:lnTo>
                        <a:pt x="99" y="128"/>
                      </a:lnTo>
                      <a:lnTo>
                        <a:pt x="99" y="112"/>
                      </a:lnTo>
                      <a:lnTo>
                        <a:pt x="91" y="100"/>
                      </a:lnTo>
                      <a:lnTo>
                        <a:pt x="96" y="91"/>
                      </a:lnTo>
                      <a:lnTo>
                        <a:pt x="117" y="79"/>
                      </a:lnTo>
                      <a:lnTo>
                        <a:pt x="148" y="55"/>
                      </a:lnTo>
                      <a:lnTo>
                        <a:pt x="152" y="19"/>
                      </a:lnTo>
                      <a:lnTo>
                        <a:pt x="175" y="0"/>
                      </a:lnTo>
                      <a:lnTo>
                        <a:pt x="181" y="12"/>
                      </a:lnTo>
                      <a:lnTo>
                        <a:pt x="205" y="36"/>
                      </a:lnTo>
                      <a:lnTo>
                        <a:pt x="217" y="72"/>
                      </a:lnTo>
                      <a:lnTo>
                        <a:pt x="213" y="110"/>
                      </a:lnTo>
                      <a:lnTo>
                        <a:pt x="223" y="131"/>
                      </a:lnTo>
                      <a:lnTo>
                        <a:pt x="217" y="154"/>
                      </a:lnTo>
                      <a:lnTo>
                        <a:pt x="243" y="178"/>
                      </a:lnTo>
                      <a:lnTo>
                        <a:pt x="251" y="214"/>
                      </a:lnTo>
                      <a:lnTo>
                        <a:pt x="252" y="216"/>
                      </a:lnTo>
                      <a:lnTo>
                        <a:pt x="235" y="243"/>
                      </a:lnTo>
                      <a:lnTo>
                        <a:pt x="216" y="242"/>
                      </a:lnTo>
                      <a:lnTo>
                        <a:pt x="204" y="290"/>
                      </a:lnTo>
                      <a:lnTo>
                        <a:pt x="201" y="288"/>
                      </a:lnTo>
                      <a:lnTo>
                        <a:pt x="191" y="284"/>
                      </a:lnTo>
                      <a:lnTo>
                        <a:pt x="169" y="292"/>
                      </a:lnTo>
                      <a:lnTo>
                        <a:pt x="143" y="274"/>
                      </a:lnTo>
                      <a:lnTo>
                        <a:pt x="131" y="275"/>
                      </a:lnTo>
                      <a:lnTo>
                        <a:pt x="116" y="286"/>
                      </a:lnTo>
                      <a:lnTo>
                        <a:pt x="99" y="267"/>
                      </a:lnTo>
                      <a:lnTo>
                        <a:pt x="76" y="267"/>
                      </a:lnTo>
                      <a:lnTo>
                        <a:pt x="52" y="243"/>
                      </a:lnTo>
                      <a:lnTo>
                        <a:pt x="45" y="252"/>
                      </a:lnTo>
                      <a:lnTo>
                        <a:pt x="11" y="242"/>
                      </a:lnTo>
                      <a:lnTo>
                        <a:pt x="0" y="227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5" name="Freeform 74"/>
                <p:cNvSpPr>
                  <a:spLocks/>
                </p:cNvSpPr>
                <p:nvPr/>
              </p:nvSpPr>
              <p:spPr bwMode="gray">
                <a:xfrm>
                  <a:off x="3529013" y="4100513"/>
                  <a:ext cx="120650" cy="196850"/>
                </a:xfrm>
                <a:custGeom>
                  <a:avLst/>
                  <a:gdLst>
                    <a:gd name="T0" fmla="*/ 0 w 76"/>
                    <a:gd name="T1" fmla="*/ 118 h 124"/>
                    <a:gd name="T2" fmla="*/ 34 w 76"/>
                    <a:gd name="T3" fmla="*/ 124 h 124"/>
                    <a:gd name="T4" fmla="*/ 52 w 76"/>
                    <a:gd name="T5" fmla="*/ 124 h 124"/>
                    <a:gd name="T6" fmla="*/ 76 w 76"/>
                    <a:gd name="T7" fmla="*/ 30 h 124"/>
                    <a:gd name="T8" fmla="*/ 42 w 76"/>
                    <a:gd name="T9" fmla="*/ 17 h 124"/>
                    <a:gd name="T10" fmla="*/ 36 w 76"/>
                    <a:gd name="T11" fmla="*/ 0 h 124"/>
                    <a:gd name="T12" fmla="*/ 2 w 76"/>
                    <a:gd name="T13" fmla="*/ 1 h 124"/>
                    <a:gd name="T14" fmla="*/ 4 w 76"/>
                    <a:gd name="T15" fmla="*/ 37 h 124"/>
                    <a:gd name="T16" fmla="*/ 28 w 76"/>
                    <a:gd name="T17" fmla="*/ 48 h 124"/>
                    <a:gd name="T18" fmla="*/ 5 w 76"/>
                    <a:gd name="T19" fmla="*/ 72 h 124"/>
                    <a:gd name="T20" fmla="*/ 0 w 76"/>
                    <a:gd name="T21" fmla="*/ 118 h 1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76" h="124">
                      <a:moveTo>
                        <a:pt x="0" y="118"/>
                      </a:moveTo>
                      <a:lnTo>
                        <a:pt x="34" y="124"/>
                      </a:lnTo>
                      <a:lnTo>
                        <a:pt x="52" y="124"/>
                      </a:lnTo>
                      <a:lnTo>
                        <a:pt x="76" y="30"/>
                      </a:lnTo>
                      <a:lnTo>
                        <a:pt x="42" y="17"/>
                      </a:lnTo>
                      <a:lnTo>
                        <a:pt x="36" y="0"/>
                      </a:lnTo>
                      <a:lnTo>
                        <a:pt x="2" y="1"/>
                      </a:lnTo>
                      <a:lnTo>
                        <a:pt x="4" y="37"/>
                      </a:lnTo>
                      <a:lnTo>
                        <a:pt x="28" y="48"/>
                      </a:lnTo>
                      <a:lnTo>
                        <a:pt x="5" y="72"/>
                      </a:lnTo>
                      <a:lnTo>
                        <a:pt x="0" y="118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6" name="Freeform 75"/>
                <p:cNvSpPr>
                  <a:spLocks/>
                </p:cNvSpPr>
                <p:nvPr/>
              </p:nvSpPr>
              <p:spPr bwMode="gray">
                <a:xfrm>
                  <a:off x="6602413" y="2159000"/>
                  <a:ext cx="728662" cy="933450"/>
                </a:xfrm>
                <a:custGeom>
                  <a:avLst/>
                  <a:gdLst>
                    <a:gd name="T0" fmla="*/ 95 w 459"/>
                    <a:gd name="T1" fmla="*/ 576 h 588"/>
                    <a:gd name="T2" fmla="*/ 77 w 459"/>
                    <a:gd name="T3" fmla="*/ 559 h 588"/>
                    <a:gd name="T4" fmla="*/ 69 w 459"/>
                    <a:gd name="T5" fmla="*/ 561 h 588"/>
                    <a:gd name="T6" fmla="*/ 39 w 459"/>
                    <a:gd name="T7" fmla="*/ 561 h 588"/>
                    <a:gd name="T8" fmla="*/ 19 w 459"/>
                    <a:gd name="T9" fmla="*/ 531 h 588"/>
                    <a:gd name="T10" fmla="*/ 28 w 459"/>
                    <a:gd name="T11" fmla="*/ 513 h 588"/>
                    <a:gd name="T12" fmla="*/ 52 w 459"/>
                    <a:gd name="T13" fmla="*/ 463 h 588"/>
                    <a:gd name="T14" fmla="*/ 24 w 459"/>
                    <a:gd name="T15" fmla="*/ 440 h 588"/>
                    <a:gd name="T16" fmla="*/ 4 w 459"/>
                    <a:gd name="T17" fmla="*/ 432 h 588"/>
                    <a:gd name="T18" fmla="*/ 0 w 459"/>
                    <a:gd name="T19" fmla="*/ 411 h 588"/>
                    <a:gd name="T20" fmla="*/ 32 w 459"/>
                    <a:gd name="T21" fmla="*/ 373 h 588"/>
                    <a:gd name="T22" fmla="*/ 41 w 459"/>
                    <a:gd name="T23" fmla="*/ 349 h 588"/>
                    <a:gd name="T24" fmla="*/ 80 w 459"/>
                    <a:gd name="T25" fmla="*/ 343 h 588"/>
                    <a:gd name="T26" fmla="*/ 97 w 459"/>
                    <a:gd name="T27" fmla="*/ 313 h 588"/>
                    <a:gd name="T28" fmla="*/ 63 w 459"/>
                    <a:gd name="T29" fmla="*/ 305 h 588"/>
                    <a:gd name="T30" fmla="*/ 41 w 459"/>
                    <a:gd name="T31" fmla="*/ 284 h 588"/>
                    <a:gd name="T32" fmla="*/ 83 w 459"/>
                    <a:gd name="T33" fmla="*/ 240 h 588"/>
                    <a:gd name="T34" fmla="*/ 83 w 459"/>
                    <a:gd name="T35" fmla="*/ 204 h 588"/>
                    <a:gd name="T36" fmla="*/ 177 w 459"/>
                    <a:gd name="T37" fmla="*/ 140 h 588"/>
                    <a:gd name="T38" fmla="*/ 236 w 459"/>
                    <a:gd name="T39" fmla="*/ 89 h 588"/>
                    <a:gd name="T40" fmla="*/ 296 w 459"/>
                    <a:gd name="T41" fmla="*/ 87 h 588"/>
                    <a:gd name="T42" fmla="*/ 299 w 459"/>
                    <a:gd name="T43" fmla="*/ 65 h 588"/>
                    <a:gd name="T44" fmla="*/ 275 w 459"/>
                    <a:gd name="T45" fmla="*/ 65 h 588"/>
                    <a:gd name="T46" fmla="*/ 328 w 459"/>
                    <a:gd name="T47" fmla="*/ 0 h 588"/>
                    <a:gd name="T48" fmla="*/ 360 w 459"/>
                    <a:gd name="T49" fmla="*/ 39 h 588"/>
                    <a:gd name="T50" fmla="*/ 345 w 459"/>
                    <a:gd name="T51" fmla="*/ 57 h 588"/>
                    <a:gd name="T52" fmla="*/ 376 w 459"/>
                    <a:gd name="T53" fmla="*/ 57 h 588"/>
                    <a:gd name="T54" fmla="*/ 379 w 459"/>
                    <a:gd name="T55" fmla="*/ 68 h 588"/>
                    <a:gd name="T56" fmla="*/ 418 w 459"/>
                    <a:gd name="T57" fmla="*/ 68 h 588"/>
                    <a:gd name="T58" fmla="*/ 379 w 459"/>
                    <a:gd name="T59" fmla="*/ 113 h 588"/>
                    <a:gd name="T60" fmla="*/ 370 w 459"/>
                    <a:gd name="T61" fmla="*/ 131 h 588"/>
                    <a:gd name="T62" fmla="*/ 340 w 459"/>
                    <a:gd name="T63" fmla="*/ 131 h 588"/>
                    <a:gd name="T64" fmla="*/ 325 w 459"/>
                    <a:gd name="T65" fmla="*/ 177 h 588"/>
                    <a:gd name="T66" fmla="*/ 287 w 459"/>
                    <a:gd name="T67" fmla="*/ 175 h 588"/>
                    <a:gd name="T68" fmla="*/ 287 w 459"/>
                    <a:gd name="T69" fmla="*/ 196 h 588"/>
                    <a:gd name="T70" fmla="*/ 325 w 459"/>
                    <a:gd name="T71" fmla="*/ 204 h 588"/>
                    <a:gd name="T72" fmla="*/ 343 w 459"/>
                    <a:gd name="T73" fmla="*/ 231 h 588"/>
                    <a:gd name="T74" fmla="*/ 319 w 459"/>
                    <a:gd name="T75" fmla="*/ 284 h 588"/>
                    <a:gd name="T76" fmla="*/ 331 w 459"/>
                    <a:gd name="T77" fmla="*/ 299 h 588"/>
                    <a:gd name="T78" fmla="*/ 367 w 459"/>
                    <a:gd name="T79" fmla="*/ 257 h 588"/>
                    <a:gd name="T80" fmla="*/ 399 w 459"/>
                    <a:gd name="T81" fmla="*/ 269 h 588"/>
                    <a:gd name="T82" fmla="*/ 428 w 459"/>
                    <a:gd name="T83" fmla="*/ 252 h 588"/>
                    <a:gd name="T84" fmla="*/ 455 w 459"/>
                    <a:gd name="T85" fmla="*/ 255 h 588"/>
                    <a:gd name="T86" fmla="*/ 459 w 459"/>
                    <a:gd name="T87" fmla="*/ 279 h 588"/>
                    <a:gd name="T88" fmla="*/ 444 w 459"/>
                    <a:gd name="T89" fmla="*/ 299 h 588"/>
                    <a:gd name="T90" fmla="*/ 444 w 459"/>
                    <a:gd name="T91" fmla="*/ 372 h 588"/>
                    <a:gd name="T92" fmla="*/ 415 w 459"/>
                    <a:gd name="T93" fmla="*/ 387 h 588"/>
                    <a:gd name="T94" fmla="*/ 392 w 459"/>
                    <a:gd name="T95" fmla="*/ 460 h 588"/>
                    <a:gd name="T96" fmla="*/ 364 w 459"/>
                    <a:gd name="T97" fmla="*/ 463 h 588"/>
                    <a:gd name="T98" fmla="*/ 339 w 459"/>
                    <a:gd name="T99" fmla="*/ 479 h 588"/>
                    <a:gd name="T100" fmla="*/ 327 w 459"/>
                    <a:gd name="T101" fmla="*/ 445 h 588"/>
                    <a:gd name="T102" fmla="*/ 293 w 459"/>
                    <a:gd name="T103" fmla="*/ 452 h 588"/>
                    <a:gd name="T104" fmla="*/ 276 w 459"/>
                    <a:gd name="T105" fmla="*/ 468 h 588"/>
                    <a:gd name="T106" fmla="*/ 235 w 459"/>
                    <a:gd name="T107" fmla="*/ 499 h 588"/>
                    <a:gd name="T108" fmla="*/ 225 w 459"/>
                    <a:gd name="T109" fmla="*/ 517 h 588"/>
                    <a:gd name="T110" fmla="*/ 207 w 459"/>
                    <a:gd name="T111" fmla="*/ 529 h 588"/>
                    <a:gd name="T112" fmla="*/ 216 w 459"/>
                    <a:gd name="T113" fmla="*/ 548 h 588"/>
                    <a:gd name="T114" fmla="*/ 199 w 459"/>
                    <a:gd name="T115" fmla="*/ 565 h 588"/>
                    <a:gd name="T116" fmla="*/ 156 w 459"/>
                    <a:gd name="T117" fmla="*/ 577 h 588"/>
                    <a:gd name="T118" fmla="*/ 136 w 459"/>
                    <a:gd name="T119" fmla="*/ 588 h 588"/>
                    <a:gd name="T120" fmla="*/ 95 w 459"/>
                    <a:gd name="T121" fmla="*/ 576 h 5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459" h="588">
                      <a:moveTo>
                        <a:pt x="95" y="576"/>
                      </a:moveTo>
                      <a:lnTo>
                        <a:pt x="77" y="559"/>
                      </a:lnTo>
                      <a:lnTo>
                        <a:pt x="69" y="561"/>
                      </a:lnTo>
                      <a:lnTo>
                        <a:pt x="39" y="561"/>
                      </a:lnTo>
                      <a:lnTo>
                        <a:pt x="19" y="531"/>
                      </a:lnTo>
                      <a:lnTo>
                        <a:pt x="28" y="513"/>
                      </a:lnTo>
                      <a:lnTo>
                        <a:pt x="52" y="463"/>
                      </a:lnTo>
                      <a:lnTo>
                        <a:pt x="24" y="440"/>
                      </a:lnTo>
                      <a:lnTo>
                        <a:pt x="4" y="432"/>
                      </a:lnTo>
                      <a:lnTo>
                        <a:pt x="0" y="411"/>
                      </a:lnTo>
                      <a:lnTo>
                        <a:pt x="32" y="373"/>
                      </a:lnTo>
                      <a:lnTo>
                        <a:pt x="41" y="349"/>
                      </a:lnTo>
                      <a:lnTo>
                        <a:pt x="80" y="343"/>
                      </a:lnTo>
                      <a:lnTo>
                        <a:pt x="97" y="313"/>
                      </a:lnTo>
                      <a:lnTo>
                        <a:pt x="63" y="305"/>
                      </a:lnTo>
                      <a:lnTo>
                        <a:pt x="41" y="284"/>
                      </a:lnTo>
                      <a:lnTo>
                        <a:pt x="83" y="240"/>
                      </a:lnTo>
                      <a:lnTo>
                        <a:pt x="83" y="204"/>
                      </a:lnTo>
                      <a:lnTo>
                        <a:pt x="177" y="140"/>
                      </a:lnTo>
                      <a:lnTo>
                        <a:pt x="236" y="89"/>
                      </a:lnTo>
                      <a:lnTo>
                        <a:pt x="296" y="87"/>
                      </a:lnTo>
                      <a:lnTo>
                        <a:pt x="299" y="65"/>
                      </a:lnTo>
                      <a:lnTo>
                        <a:pt x="275" y="65"/>
                      </a:lnTo>
                      <a:lnTo>
                        <a:pt x="328" y="0"/>
                      </a:lnTo>
                      <a:lnTo>
                        <a:pt x="360" y="39"/>
                      </a:lnTo>
                      <a:lnTo>
                        <a:pt x="345" y="57"/>
                      </a:lnTo>
                      <a:lnTo>
                        <a:pt x="376" y="57"/>
                      </a:lnTo>
                      <a:lnTo>
                        <a:pt x="379" y="68"/>
                      </a:lnTo>
                      <a:lnTo>
                        <a:pt x="418" y="68"/>
                      </a:lnTo>
                      <a:lnTo>
                        <a:pt x="379" y="113"/>
                      </a:lnTo>
                      <a:lnTo>
                        <a:pt x="370" y="131"/>
                      </a:lnTo>
                      <a:lnTo>
                        <a:pt x="340" y="131"/>
                      </a:lnTo>
                      <a:lnTo>
                        <a:pt x="325" y="177"/>
                      </a:lnTo>
                      <a:lnTo>
                        <a:pt x="287" y="175"/>
                      </a:lnTo>
                      <a:lnTo>
                        <a:pt x="287" y="196"/>
                      </a:lnTo>
                      <a:lnTo>
                        <a:pt x="325" y="204"/>
                      </a:lnTo>
                      <a:lnTo>
                        <a:pt x="343" y="231"/>
                      </a:lnTo>
                      <a:lnTo>
                        <a:pt x="319" y="284"/>
                      </a:lnTo>
                      <a:lnTo>
                        <a:pt x="331" y="299"/>
                      </a:lnTo>
                      <a:lnTo>
                        <a:pt x="367" y="257"/>
                      </a:lnTo>
                      <a:lnTo>
                        <a:pt x="399" y="269"/>
                      </a:lnTo>
                      <a:lnTo>
                        <a:pt x="428" y="252"/>
                      </a:lnTo>
                      <a:lnTo>
                        <a:pt x="455" y="255"/>
                      </a:lnTo>
                      <a:lnTo>
                        <a:pt x="459" y="279"/>
                      </a:lnTo>
                      <a:lnTo>
                        <a:pt x="444" y="299"/>
                      </a:lnTo>
                      <a:lnTo>
                        <a:pt x="444" y="372"/>
                      </a:lnTo>
                      <a:lnTo>
                        <a:pt x="415" y="387"/>
                      </a:lnTo>
                      <a:lnTo>
                        <a:pt x="392" y="460"/>
                      </a:lnTo>
                      <a:lnTo>
                        <a:pt x="364" y="463"/>
                      </a:lnTo>
                      <a:lnTo>
                        <a:pt x="339" y="479"/>
                      </a:lnTo>
                      <a:lnTo>
                        <a:pt x="327" y="445"/>
                      </a:lnTo>
                      <a:lnTo>
                        <a:pt x="293" y="452"/>
                      </a:lnTo>
                      <a:lnTo>
                        <a:pt x="276" y="468"/>
                      </a:lnTo>
                      <a:lnTo>
                        <a:pt x="235" y="499"/>
                      </a:lnTo>
                      <a:lnTo>
                        <a:pt x="225" y="517"/>
                      </a:lnTo>
                      <a:lnTo>
                        <a:pt x="207" y="529"/>
                      </a:lnTo>
                      <a:lnTo>
                        <a:pt x="216" y="548"/>
                      </a:lnTo>
                      <a:lnTo>
                        <a:pt x="199" y="565"/>
                      </a:lnTo>
                      <a:lnTo>
                        <a:pt x="156" y="577"/>
                      </a:lnTo>
                      <a:lnTo>
                        <a:pt x="136" y="588"/>
                      </a:lnTo>
                      <a:lnTo>
                        <a:pt x="95" y="576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7" name="Freeform 76"/>
                <p:cNvSpPr>
                  <a:spLocks/>
                </p:cNvSpPr>
                <p:nvPr/>
              </p:nvSpPr>
              <p:spPr bwMode="gray">
                <a:xfrm>
                  <a:off x="6931025" y="2749550"/>
                  <a:ext cx="493712" cy="889000"/>
                </a:xfrm>
                <a:custGeom>
                  <a:avLst/>
                  <a:gdLst>
                    <a:gd name="T0" fmla="*/ 275 w 311"/>
                    <a:gd name="T1" fmla="*/ 560 h 560"/>
                    <a:gd name="T2" fmla="*/ 240 w 311"/>
                    <a:gd name="T3" fmla="*/ 509 h 560"/>
                    <a:gd name="T4" fmla="*/ 219 w 311"/>
                    <a:gd name="T5" fmla="*/ 488 h 560"/>
                    <a:gd name="T6" fmla="*/ 221 w 311"/>
                    <a:gd name="T7" fmla="*/ 429 h 560"/>
                    <a:gd name="T8" fmla="*/ 187 w 311"/>
                    <a:gd name="T9" fmla="*/ 329 h 560"/>
                    <a:gd name="T10" fmla="*/ 180 w 311"/>
                    <a:gd name="T11" fmla="*/ 257 h 560"/>
                    <a:gd name="T12" fmla="*/ 128 w 311"/>
                    <a:gd name="T13" fmla="*/ 216 h 560"/>
                    <a:gd name="T14" fmla="*/ 121 w 311"/>
                    <a:gd name="T15" fmla="*/ 189 h 560"/>
                    <a:gd name="T16" fmla="*/ 94 w 311"/>
                    <a:gd name="T17" fmla="*/ 199 h 560"/>
                    <a:gd name="T18" fmla="*/ 97 w 311"/>
                    <a:gd name="T19" fmla="*/ 228 h 560"/>
                    <a:gd name="T20" fmla="*/ 101 w 311"/>
                    <a:gd name="T21" fmla="*/ 232 h 560"/>
                    <a:gd name="T22" fmla="*/ 80 w 311"/>
                    <a:gd name="T23" fmla="*/ 233 h 560"/>
                    <a:gd name="T24" fmla="*/ 62 w 311"/>
                    <a:gd name="T25" fmla="*/ 219 h 560"/>
                    <a:gd name="T26" fmla="*/ 45 w 311"/>
                    <a:gd name="T27" fmla="*/ 199 h 560"/>
                    <a:gd name="T28" fmla="*/ 30 w 311"/>
                    <a:gd name="T29" fmla="*/ 196 h 560"/>
                    <a:gd name="T30" fmla="*/ 28 w 311"/>
                    <a:gd name="T31" fmla="*/ 181 h 560"/>
                    <a:gd name="T32" fmla="*/ 9 w 311"/>
                    <a:gd name="T33" fmla="*/ 176 h 560"/>
                    <a:gd name="T34" fmla="*/ 0 w 311"/>
                    <a:gd name="T35" fmla="*/ 157 h 560"/>
                    <a:gd name="T36" fmla="*/ 18 w 311"/>
                    <a:gd name="T37" fmla="*/ 145 h 560"/>
                    <a:gd name="T38" fmla="*/ 28 w 311"/>
                    <a:gd name="T39" fmla="*/ 127 h 560"/>
                    <a:gd name="T40" fmla="*/ 69 w 311"/>
                    <a:gd name="T41" fmla="*/ 96 h 560"/>
                    <a:gd name="T42" fmla="*/ 86 w 311"/>
                    <a:gd name="T43" fmla="*/ 80 h 560"/>
                    <a:gd name="T44" fmla="*/ 120 w 311"/>
                    <a:gd name="T45" fmla="*/ 73 h 560"/>
                    <a:gd name="T46" fmla="*/ 132 w 311"/>
                    <a:gd name="T47" fmla="*/ 107 h 560"/>
                    <a:gd name="T48" fmla="*/ 157 w 311"/>
                    <a:gd name="T49" fmla="*/ 91 h 560"/>
                    <a:gd name="T50" fmla="*/ 185 w 311"/>
                    <a:gd name="T51" fmla="*/ 88 h 560"/>
                    <a:gd name="T52" fmla="*/ 208 w 311"/>
                    <a:gd name="T53" fmla="*/ 15 h 560"/>
                    <a:gd name="T54" fmla="*/ 237 w 311"/>
                    <a:gd name="T55" fmla="*/ 0 h 560"/>
                    <a:gd name="T56" fmla="*/ 275 w 311"/>
                    <a:gd name="T57" fmla="*/ 111 h 560"/>
                    <a:gd name="T58" fmla="*/ 289 w 311"/>
                    <a:gd name="T59" fmla="*/ 133 h 560"/>
                    <a:gd name="T60" fmla="*/ 245 w 311"/>
                    <a:gd name="T61" fmla="*/ 148 h 560"/>
                    <a:gd name="T62" fmla="*/ 233 w 311"/>
                    <a:gd name="T63" fmla="*/ 193 h 560"/>
                    <a:gd name="T64" fmla="*/ 245 w 311"/>
                    <a:gd name="T65" fmla="*/ 220 h 560"/>
                    <a:gd name="T66" fmla="*/ 225 w 311"/>
                    <a:gd name="T67" fmla="*/ 225 h 560"/>
                    <a:gd name="T68" fmla="*/ 243 w 311"/>
                    <a:gd name="T69" fmla="*/ 255 h 560"/>
                    <a:gd name="T70" fmla="*/ 221 w 311"/>
                    <a:gd name="T71" fmla="*/ 276 h 560"/>
                    <a:gd name="T72" fmla="*/ 281 w 311"/>
                    <a:gd name="T73" fmla="*/ 359 h 560"/>
                    <a:gd name="T74" fmla="*/ 301 w 311"/>
                    <a:gd name="T75" fmla="*/ 337 h 560"/>
                    <a:gd name="T76" fmla="*/ 311 w 311"/>
                    <a:gd name="T77" fmla="*/ 351 h 560"/>
                    <a:gd name="T78" fmla="*/ 268 w 311"/>
                    <a:gd name="T79" fmla="*/ 405 h 560"/>
                    <a:gd name="T80" fmla="*/ 289 w 311"/>
                    <a:gd name="T81" fmla="*/ 451 h 560"/>
                    <a:gd name="T82" fmla="*/ 281 w 311"/>
                    <a:gd name="T83" fmla="*/ 469 h 560"/>
                    <a:gd name="T84" fmla="*/ 260 w 311"/>
                    <a:gd name="T85" fmla="*/ 475 h 560"/>
                    <a:gd name="T86" fmla="*/ 263 w 311"/>
                    <a:gd name="T87" fmla="*/ 503 h 560"/>
                    <a:gd name="T88" fmla="*/ 296 w 311"/>
                    <a:gd name="T89" fmla="*/ 503 h 560"/>
                    <a:gd name="T90" fmla="*/ 299 w 311"/>
                    <a:gd name="T91" fmla="*/ 529 h 560"/>
                    <a:gd name="T92" fmla="*/ 275 w 311"/>
                    <a:gd name="T93" fmla="*/ 560 h 5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311" h="560">
                      <a:moveTo>
                        <a:pt x="275" y="560"/>
                      </a:moveTo>
                      <a:lnTo>
                        <a:pt x="240" y="509"/>
                      </a:lnTo>
                      <a:lnTo>
                        <a:pt x="219" y="488"/>
                      </a:lnTo>
                      <a:lnTo>
                        <a:pt x="221" y="429"/>
                      </a:lnTo>
                      <a:lnTo>
                        <a:pt x="187" y="329"/>
                      </a:lnTo>
                      <a:lnTo>
                        <a:pt x="180" y="257"/>
                      </a:lnTo>
                      <a:lnTo>
                        <a:pt x="128" y="216"/>
                      </a:lnTo>
                      <a:lnTo>
                        <a:pt x="121" y="189"/>
                      </a:lnTo>
                      <a:lnTo>
                        <a:pt x="94" y="199"/>
                      </a:lnTo>
                      <a:lnTo>
                        <a:pt x="97" y="228"/>
                      </a:lnTo>
                      <a:lnTo>
                        <a:pt x="101" y="232"/>
                      </a:lnTo>
                      <a:lnTo>
                        <a:pt x="80" y="233"/>
                      </a:lnTo>
                      <a:lnTo>
                        <a:pt x="62" y="219"/>
                      </a:lnTo>
                      <a:lnTo>
                        <a:pt x="45" y="199"/>
                      </a:lnTo>
                      <a:lnTo>
                        <a:pt x="30" y="196"/>
                      </a:lnTo>
                      <a:lnTo>
                        <a:pt x="28" y="181"/>
                      </a:lnTo>
                      <a:lnTo>
                        <a:pt x="9" y="176"/>
                      </a:lnTo>
                      <a:lnTo>
                        <a:pt x="0" y="157"/>
                      </a:lnTo>
                      <a:lnTo>
                        <a:pt x="18" y="145"/>
                      </a:lnTo>
                      <a:lnTo>
                        <a:pt x="28" y="127"/>
                      </a:lnTo>
                      <a:lnTo>
                        <a:pt x="69" y="96"/>
                      </a:lnTo>
                      <a:lnTo>
                        <a:pt x="86" y="80"/>
                      </a:lnTo>
                      <a:lnTo>
                        <a:pt x="120" y="73"/>
                      </a:lnTo>
                      <a:lnTo>
                        <a:pt x="132" y="107"/>
                      </a:lnTo>
                      <a:lnTo>
                        <a:pt x="157" y="91"/>
                      </a:lnTo>
                      <a:lnTo>
                        <a:pt x="185" y="88"/>
                      </a:lnTo>
                      <a:lnTo>
                        <a:pt x="208" y="15"/>
                      </a:lnTo>
                      <a:lnTo>
                        <a:pt x="237" y="0"/>
                      </a:lnTo>
                      <a:lnTo>
                        <a:pt x="275" y="111"/>
                      </a:lnTo>
                      <a:lnTo>
                        <a:pt x="289" y="133"/>
                      </a:lnTo>
                      <a:lnTo>
                        <a:pt x="245" y="148"/>
                      </a:lnTo>
                      <a:lnTo>
                        <a:pt x="233" y="193"/>
                      </a:lnTo>
                      <a:lnTo>
                        <a:pt x="245" y="220"/>
                      </a:lnTo>
                      <a:lnTo>
                        <a:pt x="225" y="225"/>
                      </a:lnTo>
                      <a:lnTo>
                        <a:pt x="243" y="255"/>
                      </a:lnTo>
                      <a:lnTo>
                        <a:pt x="221" y="276"/>
                      </a:lnTo>
                      <a:lnTo>
                        <a:pt x="281" y="359"/>
                      </a:lnTo>
                      <a:lnTo>
                        <a:pt x="301" y="337"/>
                      </a:lnTo>
                      <a:lnTo>
                        <a:pt x="311" y="351"/>
                      </a:lnTo>
                      <a:lnTo>
                        <a:pt x="268" y="405"/>
                      </a:lnTo>
                      <a:lnTo>
                        <a:pt x="289" y="451"/>
                      </a:lnTo>
                      <a:lnTo>
                        <a:pt x="281" y="469"/>
                      </a:lnTo>
                      <a:lnTo>
                        <a:pt x="260" y="475"/>
                      </a:lnTo>
                      <a:lnTo>
                        <a:pt x="263" y="503"/>
                      </a:lnTo>
                      <a:lnTo>
                        <a:pt x="296" y="503"/>
                      </a:lnTo>
                      <a:lnTo>
                        <a:pt x="299" y="529"/>
                      </a:lnTo>
                      <a:lnTo>
                        <a:pt x="275" y="560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79" name="Freeform 78"/>
                <p:cNvSpPr>
                  <a:spLocks/>
                </p:cNvSpPr>
                <p:nvPr/>
              </p:nvSpPr>
              <p:spPr bwMode="gray">
                <a:xfrm>
                  <a:off x="3436938" y="4114800"/>
                  <a:ext cx="366712" cy="400050"/>
                </a:xfrm>
                <a:custGeom>
                  <a:avLst/>
                  <a:gdLst>
                    <a:gd name="T0" fmla="*/ 58 w 231"/>
                    <a:gd name="T1" fmla="*/ 109 h 252"/>
                    <a:gd name="T2" fmla="*/ 63 w 231"/>
                    <a:gd name="T3" fmla="*/ 63 h 252"/>
                    <a:gd name="T4" fmla="*/ 58 w 231"/>
                    <a:gd name="T5" fmla="*/ 109 h 252"/>
                    <a:gd name="T6" fmla="*/ 92 w 231"/>
                    <a:gd name="T7" fmla="*/ 115 h 252"/>
                    <a:gd name="T8" fmla="*/ 110 w 231"/>
                    <a:gd name="T9" fmla="*/ 115 h 252"/>
                    <a:gd name="T10" fmla="*/ 134 w 231"/>
                    <a:gd name="T11" fmla="*/ 21 h 252"/>
                    <a:gd name="T12" fmla="*/ 100 w 231"/>
                    <a:gd name="T13" fmla="*/ 8 h 252"/>
                    <a:gd name="T14" fmla="*/ 98 w 231"/>
                    <a:gd name="T15" fmla="*/ 0 h 252"/>
                    <a:gd name="T16" fmla="*/ 100 w 231"/>
                    <a:gd name="T17" fmla="*/ 8 h 252"/>
                    <a:gd name="T18" fmla="*/ 134 w 231"/>
                    <a:gd name="T19" fmla="*/ 21 h 252"/>
                    <a:gd name="T20" fmla="*/ 184 w 231"/>
                    <a:gd name="T21" fmla="*/ 17 h 252"/>
                    <a:gd name="T22" fmla="*/ 231 w 231"/>
                    <a:gd name="T23" fmla="*/ 44 h 252"/>
                    <a:gd name="T24" fmla="*/ 227 w 231"/>
                    <a:gd name="T25" fmla="*/ 80 h 252"/>
                    <a:gd name="T26" fmla="*/ 196 w 231"/>
                    <a:gd name="T27" fmla="*/ 104 h 252"/>
                    <a:gd name="T28" fmla="*/ 175 w 231"/>
                    <a:gd name="T29" fmla="*/ 116 h 252"/>
                    <a:gd name="T30" fmla="*/ 170 w 231"/>
                    <a:gd name="T31" fmla="*/ 125 h 252"/>
                    <a:gd name="T32" fmla="*/ 178 w 231"/>
                    <a:gd name="T33" fmla="*/ 137 h 252"/>
                    <a:gd name="T34" fmla="*/ 178 w 231"/>
                    <a:gd name="T35" fmla="*/ 153 h 252"/>
                    <a:gd name="T36" fmla="*/ 172 w 231"/>
                    <a:gd name="T37" fmla="*/ 161 h 252"/>
                    <a:gd name="T38" fmla="*/ 183 w 231"/>
                    <a:gd name="T39" fmla="*/ 167 h 252"/>
                    <a:gd name="T40" fmla="*/ 178 w 231"/>
                    <a:gd name="T41" fmla="*/ 179 h 252"/>
                    <a:gd name="T42" fmla="*/ 151 w 231"/>
                    <a:gd name="T43" fmla="*/ 185 h 252"/>
                    <a:gd name="T44" fmla="*/ 147 w 231"/>
                    <a:gd name="T45" fmla="*/ 203 h 252"/>
                    <a:gd name="T46" fmla="*/ 131 w 231"/>
                    <a:gd name="T47" fmla="*/ 200 h 252"/>
                    <a:gd name="T48" fmla="*/ 120 w 231"/>
                    <a:gd name="T49" fmla="*/ 205 h 252"/>
                    <a:gd name="T50" fmla="*/ 115 w 231"/>
                    <a:gd name="T51" fmla="*/ 223 h 252"/>
                    <a:gd name="T52" fmla="*/ 94 w 231"/>
                    <a:gd name="T53" fmla="*/ 224 h 252"/>
                    <a:gd name="T54" fmla="*/ 79 w 231"/>
                    <a:gd name="T55" fmla="*/ 252 h 252"/>
                    <a:gd name="T56" fmla="*/ 60 w 231"/>
                    <a:gd name="T57" fmla="*/ 245 h 252"/>
                    <a:gd name="T58" fmla="*/ 59 w 231"/>
                    <a:gd name="T59" fmla="*/ 231 h 252"/>
                    <a:gd name="T60" fmla="*/ 36 w 231"/>
                    <a:gd name="T61" fmla="*/ 231 h 252"/>
                    <a:gd name="T62" fmla="*/ 34 w 231"/>
                    <a:gd name="T63" fmla="*/ 220 h 252"/>
                    <a:gd name="T64" fmla="*/ 23 w 231"/>
                    <a:gd name="T65" fmla="*/ 215 h 252"/>
                    <a:gd name="T66" fmla="*/ 20 w 231"/>
                    <a:gd name="T67" fmla="*/ 204 h 252"/>
                    <a:gd name="T68" fmla="*/ 15 w 231"/>
                    <a:gd name="T69" fmla="*/ 203 h 252"/>
                    <a:gd name="T70" fmla="*/ 0 w 231"/>
                    <a:gd name="T71" fmla="*/ 184 h 252"/>
                    <a:gd name="T72" fmla="*/ 35 w 231"/>
                    <a:gd name="T73" fmla="*/ 176 h 252"/>
                    <a:gd name="T74" fmla="*/ 34 w 231"/>
                    <a:gd name="T75" fmla="*/ 147 h 252"/>
                    <a:gd name="T76" fmla="*/ 46 w 231"/>
                    <a:gd name="T77" fmla="*/ 140 h 252"/>
                    <a:gd name="T78" fmla="*/ 42 w 231"/>
                    <a:gd name="T79" fmla="*/ 112 h 252"/>
                    <a:gd name="T80" fmla="*/ 58 w 231"/>
                    <a:gd name="T81" fmla="*/ 109 h 2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231" h="252">
                      <a:moveTo>
                        <a:pt x="58" y="109"/>
                      </a:moveTo>
                      <a:lnTo>
                        <a:pt x="63" y="63"/>
                      </a:lnTo>
                      <a:lnTo>
                        <a:pt x="58" y="109"/>
                      </a:lnTo>
                      <a:lnTo>
                        <a:pt x="92" y="115"/>
                      </a:lnTo>
                      <a:lnTo>
                        <a:pt x="110" y="115"/>
                      </a:lnTo>
                      <a:lnTo>
                        <a:pt x="134" y="21"/>
                      </a:lnTo>
                      <a:lnTo>
                        <a:pt x="100" y="8"/>
                      </a:lnTo>
                      <a:lnTo>
                        <a:pt x="98" y="0"/>
                      </a:lnTo>
                      <a:lnTo>
                        <a:pt x="100" y="8"/>
                      </a:lnTo>
                      <a:lnTo>
                        <a:pt x="134" y="21"/>
                      </a:lnTo>
                      <a:lnTo>
                        <a:pt x="184" y="17"/>
                      </a:lnTo>
                      <a:lnTo>
                        <a:pt x="231" y="44"/>
                      </a:lnTo>
                      <a:lnTo>
                        <a:pt x="227" y="80"/>
                      </a:lnTo>
                      <a:lnTo>
                        <a:pt x="196" y="104"/>
                      </a:lnTo>
                      <a:lnTo>
                        <a:pt x="175" y="116"/>
                      </a:lnTo>
                      <a:lnTo>
                        <a:pt x="170" y="125"/>
                      </a:lnTo>
                      <a:lnTo>
                        <a:pt x="178" y="137"/>
                      </a:lnTo>
                      <a:lnTo>
                        <a:pt x="178" y="153"/>
                      </a:lnTo>
                      <a:lnTo>
                        <a:pt x="172" y="161"/>
                      </a:lnTo>
                      <a:lnTo>
                        <a:pt x="183" y="167"/>
                      </a:lnTo>
                      <a:lnTo>
                        <a:pt x="178" y="179"/>
                      </a:lnTo>
                      <a:lnTo>
                        <a:pt x="151" y="185"/>
                      </a:lnTo>
                      <a:lnTo>
                        <a:pt x="147" y="203"/>
                      </a:lnTo>
                      <a:lnTo>
                        <a:pt x="131" y="200"/>
                      </a:lnTo>
                      <a:lnTo>
                        <a:pt x="120" y="205"/>
                      </a:lnTo>
                      <a:lnTo>
                        <a:pt x="115" y="223"/>
                      </a:lnTo>
                      <a:lnTo>
                        <a:pt x="94" y="224"/>
                      </a:lnTo>
                      <a:lnTo>
                        <a:pt x="79" y="252"/>
                      </a:lnTo>
                      <a:lnTo>
                        <a:pt x="60" y="245"/>
                      </a:lnTo>
                      <a:lnTo>
                        <a:pt x="59" y="231"/>
                      </a:lnTo>
                      <a:lnTo>
                        <a:pt x="36" y="231"/>
                      </a:lnTo>
                      <a:lnTo>
                        <a:pt x="34" y="220"/>
                      </a:lnTo>
                      <a:lnTo>
                        <a:pt x="23" y="215"/>
                      </a:lnTo>
                      <a:lnTo>
                        <a:pt x="20" y="204"/>
                      </a:lnTo>
                      <a:lnTo>
                        <a:pt x="15" y="203"/>
                      </a:lnTo>
                      <a:lnTo>
                        <a:pt x="0" y="184"/>
                      </a:lnTo>
                      <a:lnTo>
                        <a:pt x="35" y="176"/>
                      </a:lnTo>
                      <a:lnTo>
                        <a:pt x="34" y="147"/>
                      </a:lnTo>
                      <a:lnTo>
                        <a:pt x="46" y="140"/>
                      </a:lnTo>
                      <a:lnTo>
                        <a:pt x="42" y="112"/>
                      </a:lnTo>
                      <a:lnTo>
                        <a:pt x="58" y="109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0" name="Freeform 79"/>
                <p:cNvSpPr>
                  <a:spLocks/>
                </p:cNvSpPr>
                <p:nvPr/>
              </p:nvSpPr>
              <p:spPr bwMode="gray">
                <a:xfrm>
                  <a:off x="4806950" y="4895850"/>
                  <a:ext cx="201612" cy="328613"/>
                </a:xfrm>
                <a:custGeom>
                  <a:avLst/>
                  <a:gdLst>
                    <a:gd name="T0" fmla="*/ 84 w 127"/>
                    <a:gd name="T1" fmla="*/ 159 h 207"/>
                    <a:gd name="T2" fmla="*/ 97 w 127"/>
                    <a:gd name="T3" fmla="*/ 140 h 207"/>
                    <a:gd name="T4" fmla="*/ 116 w 127"/>
                    <a:gd name="T5" fmla="*/ 129 h 207"/>
                    <a:gd name="T6" fmla="*/ 113 w 127"/>
                    <a:gd name="T7" fmla="*/ 112 h 207"/>
                    <a:gd name="T8" fmla="*/ 127 w 127"/>
                    <a:gd name="T9" fmla="*/ 109 h 207"/>
                    <a:gd name="T10" fmla="*/ 112 w 127"/>
                    <a:gd name="T11" fmla="*/ 77 h 207"/>
                    <a:gd name="T12" fmla="*/ 105 w 127"/>
                    <a:gd name="T13" fmla="*/ 45 h 207"/>
                    <a:gd name="T14" fmla="*/ 73 w 127"/>
                    <a:gd name="T15" fmla="*/ 17 h 207"/>
                    <a:gd name="T16" fmla="*/ 49 w 127"/>
                    <a:gd name="T17" fmla="*/ 20 h 207"/>
                    <a:gd name="T18" fmla="*/ 33 w 127"/>
                    <a:gd name="T19" fmla="*/ 0 h 207"/>
                    <a:gd name="T20" fmla="*/ 25 w 127"/>
                    <a:gd name="T21" fmla="*/ 4 h 207"/>
                    <a:gd name="T22" fmla="*/ 25 w 127"/>
                    <a:gd name="T23" fmla="*/ 20 h 207"/>
                    <a:gd name="T24" fmla="*/ 35 w 127"/>
                    <a:gd name="T25" fmla="*/ 27 h 207"/>
                    <a:gd name="T26" fmla="*/ 23 w 127"/>
                    <a:gd name="T27" fmla="*/ 44 h 207"/>
                    <a:gd name="T28" fmla="*/ 23 w 127"/>
                    <a:gd name="T29" fmla="*/ 53 h 207"/>
                    <a:gd name="T30" fmla="*/ 43 w 127"/>
                    <a:gd name="T31" fmla="*/ 59 h 207"/>
                    <a:gd name="T32" fmla="*/ 37 w 127"/>
                    <a:gd name="T33" fmla="*/ 92 h 207"/>
                    <a:gd name="T34" fmla="*/ 45 w 127"/>
                    <a:gd name="T35" fmla="*/ 119 h 207"/>
                    <a:gd name="T36" fmla="*/ 0 w 127"/>
                    <a:gd name="T37" fmla="*/ 183 h 207"/>
                    <a:gd name="T38" fmla="*/ 23 w 127"/>
                    <a:gd name="T39" fmla="*/ 207 h 207"/>
                    <a:gd name="T40" fmla="*/ 29 w 127"/>
                    <a:gd name="T41" fmla="*/ 191 h 207"/>
                    <a:gd name="T42" fmla="*/ 56 w 127"/>
                    <a:gd name="T43" fmla="*/ 187 h 207"/>
                    <a:gd name="T44" fmla="*/ 71 w 127"/>
                    <a:gd name="T45" fmla="*/ 165 h 207"/>
                    <a:gd name="T46" fmla="*/ 84 w 127"/>
                    <a:gd name="T47" fmla="*/ 159 h 2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27" h="207">
                      <a:moveTo>
                        <a:pt x="84" y="159"/>
                      </a:moveTo>
                      <a:lnTo>
                        <a:pt x="97" y="140"/>
                      </a:lnTo>
                      <a:lnTo>
                        <a:pt x="116" y="129"/>
                      </a:lnTo>
                      <a:lnTo>
                        <a:pt x="113" y="112"/>
                      </a:lnTo>
                      <a:lnTo>
                        <a:pt x="127" y="109"/>
                      </a:lnTo>
                      <a:lnTo>
                        <a:pt x="112" y="77"/>
                      </a:lnTo>
                      <a:lnTo>
                        <a:pt x="105" y="45"/>
                      </a:lnTo>
                      <a:lnTo>
                        <a:pt x="73" y="17"/>
                      </a:lnTo>
                      <a:lnTo>
                        <a:pt x="49" y="20"/>
                      </a:lnTo>
                      <a:lnTo>
                        <a:pt x="33" y="0"/>
                      </a:lnTo>
                      <a:lnTo>
                        <a:pt x="25" y="4"/>
                      </a:lnTo>
                      <a:lnTo>
                        <a:pt x="25" y="20"/>
                      </a:lnTo>
                      <a:lnTo>
                        <a:pt x="35" y="27"/>
                      </a:lnTo>
                      <a:lnTo>
                        <a:pt x="23" y="44"/>
                      </a:lnTo>
                      <a:lnTo>
                        <a:pt x="23" y="53"/>
                      </a:lnTo>
                      <a:lnTo>
                        <a:pt x="43" y="59"/>
                      </a:lnTo>
                      <a:lnTo>
                        <a:pt x="37" y="92"/>
                      </a:lnTo>
                      <a:lnTo>
                        <a:pt x="45" y="119"/>
                      </a:lnTo>
                      <a:lnTo>
                        <a:pt x="0" y="183"/>
                      </a:lnTo>
                      <a:lnTo>
                        <a:pt x="23" y="207"/>
                      </a:lnTo>
                      <a:lnTo>
                        <a:pt x="29" y="191"/>
                      </a:lnTo>
                      <a:lnTo>
                        <a:pt x="56" y="187"/>
                      </a:lnTo>
                      <a:lnTo>
                        <a:pt x="71" y="165"/>
                      </a:lnTo>
                      <a:lnTo>
                        <a:pt x="84" y="159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1" name="Freeform 80"/>
                <p:cNvSpPr>
                  <a:spLocks noEditPoints="1"/>
                </p:cNvSpPr>
                <p:nvPr/>
              </p:nvSpPr>
              <p:spPr bwMode="gray">
                <a:xfrm>
                  <a:off x="4356100" y="4960938"/>
                  <a:ext cx="557212" cy="333375"/>
                </a:xfrm>
                <a:custGeom>
                  <a:avLst/>
                  <a:gdLst>
                    <a:gd name="T0" fmla="*/ 128 w 263"/>
                    <a:gd name="T1" fmla="*/ 147 h 157"/>
                    <a:gd name="T2" fmla="*/ 119 w 263"/>
                    <a:gd name="T3" fmla="*/ 128 h 157"/>
                    <a:gd name="T4" fmla="*/ 104 w 263"/>
                    <a:gd name="T5" fmla="*/ 127 h 157"/>
                    <a:gd name="T6" fmla="*/ 71 w 263"/>
                    <a:gd name="T7" fmla="*/ 131 h 157"/>
                    <a:gd name="T8" fmla="*/ 62 w 263"/>
                    <a:gd name="T9" fmla="*/ 111 h 157"/>
                    <a:gd name="T10" fmla="*/ 52 w 263"/>
                    <a:gd name="T11" fmla="*/ 107 h 157"/>
                    <a:gd name="T12" fmla="*/ 43 w 263"/>
                    <a:gd name="T13" fmla="*/ 116 h 157"/>
                    <a:gd name="T14" fmla="*/ 32 w 263"/>
                    <a:gd name="T15" fmla="*/ 117 h 157"/>
                    <a:gd name="T16" fmla="*/ 0 w 263"/>
                    <a:gd name="T17" fmla="*/ 19 h 157"/>
                    <a:gd name="T18" fmla="*/ 11 w 263"/>
                    <a:gd name="T19" fmla="*/ 14 h 157"/>
                    <a:gd name="T20" fmla="*/ 27 w 263"/>
                    <a:gd name="T21" fmla="*/ 20 h 157"/>
                    <a:gd name="T22" fmla="*/ 65 w 263"/>
                    <a:gd name="T23" fmla="*/ 0 h 157"/>
                    <a:gd name="T24" fmla="*/ 85 w 263"/>
                    <a:gd name="T25" fmla="*/ 7 h 157"/>
                    <a:gd name="T26" fmla="*/ 89 w 263"/>
                    <a:gd name="T27" fmla="*/ 22 h 157"/>
                    <a:gd name="T28" fmla="*/ 103 w 263"/>
                    <a:gd name="T29" fmla="*/ 30 h 157"/>
                    <a:gd name="T30" fmla="*/ 117 w 263"/>
                    <a:gd name="T31" fmla="*/ 16 h 157"/>
                    <a:gd name="T32" fmla="*/ 144 w 263"/>
                    <a:gd name="T33" fmla="*/ 16 h 157"/>
                    <a:gd name="T34" fmla="*/ 148 w 263"/>
                    <a:gd name="T35" fmla="*/ 7 h 157"/>
                    <a:gd name="T36" fmla="*/ 159 w 263"/>
                    <a:gd name="T37" fmla="*/ 2 h 157"/>
                    <a:gd name="T38" fmla="*/ 163 w 263"/>
                    <a:gd name="T39" fmla="*/ 0 h 157"/>
                    <a:gd name="T40" fmla="*/ 173 w 263"/>
                    <a:gd name="T41" fmla="*/ 18 h 157"/>
                    <a:gd name="T42" fmla="*/ 195 w 263"/>
                    <a:gd name="T43" fmla="*/ 35 h 157"/>
                    <a:gd name="T44" fmla="*/ 193 w 263"/>
                    <a:gd name="T45" fmla="*/ 53 h 157"/>
                    <a:gd name="T46" fmla="*/ 202 w 263"/>
                    <a:gd name="T47" fmla="*/ 65 h 157"/>
                    <a:gd name="T48" fmla="*/ 201 w 263"/>
                    <a:gd name="T49" fmla="*/ 72 h 157"/>
                    <a:gd name="T50" fmla="*/ 201 w 263"/>
                    <a:gd name="T51" fmla="*/ 76 h 157"/>
                    <a:gd name="T52" fmla="*/ 192 w 263"/>
                    <a:gd name="T53" fmla="*/ 78 h 157"/>
                    <a:gd name="T54" fmla="*/ 183 w 263"/>
                    <a:gd name="T55" fmla="*/ 94 h 157"/>
                    <a:gd name="T56" fmla="*/ 157 w 263"/>
                    <a:gd name="T57" fmla="*/ 109 h 157"/>
                    <a:gd name="T58" fmla="*/ 136 w 263"/>
                    <a:gd name="T59" fmla="*/ 115 h 157"/>
                    <a:gd name="T60" fmla="*/ 134 w 263"/>
                    <a:gd name="T61" fmla="*/ 125 h 157"/>
                    <a:gd name="T62" fmla="*/ 139 w 263"/>
                    <a:gd name="T63" fmla="*/ 130 h 157"/>
                    <a:gd name="T64" fmla="*/ 128 w 263"/>
                    <a:gd name="T65" fmla="*/ 147 h 157"/>
                    <a:gd name="T66" fmla="*/ 259 w 263"/>
                    <a:gd name="T67" fmla="*/ 149 h 157"/>
                    <a:gd name="T68" fmla="*/ 250 w 263"/>
                    <a:gd name="T69" fmla="*/ 157 h 157"/>
                    <a:gd name="T70" fmla="*/ 259 w 263"/>
                    <a:gd name="T71" fmla="*/ 149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263" h="157">
                      <a:moveTo>
                        <a:pt x="128" y="147"/>
                      </a:moveTo>
                      <a:cubicBezTo>
                        <a:pt x="119" y="128"/>
                        <a:pt x="119" y="128"/>
                        <a:pt x="119" y="128"/>
                      </a:cubicBezTo>
                      <a:cubicBezTo>
                        <a:pt x="104" y="127"/>
                        <a:pt x="104" y="127"/>
                        <a:pt x="104" y="127"/>
                      </a:cubicBezTo>
                      <a:cubicBezTo>
                        <a:pt x="71" y="131"/>
                        <a:pt x="71" y="131"/>
                        <a:pt x="71" y="131"/>
                      </a:cubicBezTo>
                      <a:cubicBezTo>
                        <a:pt x="62" y="111"/>
                        <a:pt x="62" y="111"/>
                        <a:pt x="62" y="111"/>
                      </a:cubicBezTo>
                      <a:cubicBezTo>
                        <a:pt x="52" y="107"/>
                        <a:pt x="52" y="107"/>
                        <a:pt x="52" y="107"/>
                      </a:cubicBezTo>
                      <a:cubicBezTo>
                        <a:pt x="43" y="116"/>
                        <a:pt x="43" y="116"/>
                        <a:pt x="43" y="116"/>
                      </a:cubicBezTo>
                      <a:cubicBezTo>
                        <a:pt x="32" y="117"/>
                        <a:pt x="32" y="117"/>
                        <a:pt x="32" y="117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11" y="14"/>
                        <a:pt x="11" y="14"/>
                        <a:pt x="11" y="14"/>
                      </a:cubicBezTo>
                      <a:cubicBezTo>
                        <a:pt x="27" y="20"/>
                        <a:pt x="27" y="20"/>
                        <a:pt x="27" y="20"/>
                      </a:cubicBezTo>
                      <a:cubicBezTo>
                        <a:pt x="65" y="0"/>
                        <a:pt x="65" y="0"/>
                        <a:pt x="65" y="0"/>
                      </a:cubicBezTo>
                      <a:cubicBezTo>
                        <a:pt x="85" y="7"/>
                        <a:pt x="85" y="7"/>
                        <a:pt x="85" y="7"/>
                      </a:cubicBezTo>
                      <a:cubicBezTo>
                        <a:pt x="89" y="22"/>
                        <a:pt x="89" y="22"/>
                        <a:pt x="89" y="22"/>
                      </a:cubicBezTo>
                      <a:cubicBezTo>
                        <a:pt x="103" y="30"/>
                        <a:pt x="103" y="30"/>
                        <a:pt x="103" y="30"/>
                      </a:cubicBezTo>
                      <a:cubicBezTo>
                        <a:pt x="117" y="16"/>
                        <a:pt x="117" y="16"/>
                        <a:pt x="117" y="16"/>
                      </a:cubicBezTo>
                      <a:cubicBezTo>
                        <a:pt x="144" y="16"/>
                        <a:pt x="144" y="16"/>
                        <a:pt x="144" y="16"/>
                      </a:cubicBezTo>
                      <a:cubicBezTo>
                        <a:pt x="148" y="7"/>
                        <a:pt x="148" y="7"/>
                        <a:pt x="148" y="7"/>
                      </a:cubicBezTo>
                      <a:cubicBezTo>
                        <a:pt x="159" y="2"/>
                        <a:pt x="159" y="2"/>
                        <a:pt x="159" y="2"/>
                      </a:cubicBezTo>
                      <a:cubicBezTo>
                        <a:pt x="163" y="0"/>
                        <a:pt x="163" y="0"/>
                        <a:pt x="163" y="0"/>
                      </a:cubicBezTo>
                      <a:cubicBezTo>
                        <a:pt x="173" y="18"/>
                        <a:pt x="173" y="18"/>
                        <a:pt x="173" y="18"/>
                      </a:cubicBezTo>
                      <a:cubicBezTo>
                        <a:pt x="195" y="35"/>
                        <a:pt x="195" y="35"/>
                        <a:pt x="195" y="35"/>
                      </a:cubicBezTo>
                      <a:cubicBezTo>
                        <a:pt x="193" y="53"/>
                        <a:pt x="193" y="53"/>
                        <a:pt x="193" y="53"/>
                      </a:cubicBezTo>
                      <a:cubicBezTo>
                        <a:pt x="202" y="65"/>
                        <a:pt x="202" y="65"/>
                        <a:pt x="202" y="65"/>
                      </a:cubicBezTo>
                      <a:cubicBezTo>
                        <a:pt x="201" y="72"/>
                        <a:pt x="201" y="72"/>
                        <a:pt x="201" y="72"/>
                      </a:cubicBezTo>
                      <a:cubicBezTo>
                        <a:pt x="201" y="76"/>
                        <a:pt x="201" y="76"/>
                        <a:pt x="201" y="76"/>
                      </a:cubicBezTo>
                      <a:cubicBezTo>
                        <a:pt x="192" y="78"/>
                        <a:pt x="192" y="78"/>
                        <a:pt x="192" y="78"/>
                      </a:cubicBezTo>
                      <a:cubicBezTo>
                        <a:pt x="183" y="94"/>
                        <a:pt x="183" y="94"/>
                        <a:pt x="183" y="94"/>
                      </a:cubicBezTo>
                      <a:cubicBezTo>
                        <a:pt x="157" y="109"/>
                        <a:pt x="157" y="109"/>
                        <a:pt x="157" y="109"/>
                      </a:cubicBezTo>
                      <a:cubicBezTo>
                        <a:pt x="136" y="115"/>
                        <a:pt x="136" y="115"/>
                        <a:pt x="136" y="115"/>
                      </a:cubicBezTo>
                      <a:cubicBezTo>
                        <a:pt x="134" y="125"/>
                        <a:pt x="134" y="125"/>
                        <a:pt x="134" y="125"/>
                      </a:cubicBezTo>
                      <a:cubicBezTo>
                        <a:pt x="139" y="130"/>
                        <a:pt x="139" y="130"/>
                        <a:pt x="139" y="130"/>
                      </a:cubicBezTo>
                      <a:cubicBezTo>
                        <a:pt x="128" y="147"/>
                        <a:pt x="128" y="147"/>
                        <a:pt x="128" y="147"/>
                      </a:cubicBezTo>
                      <a:close/>
                      <a:moveTo>
                        <a:pt x="259" y="149"/>
                      </a:moveTo>
                      <a:cubicBezTo>
                        <a:pt x="263" y="151"/>
                        <a:pt x="250" y="157"/>
                        <a:pt x="250" y="157"/>
                      </a:cubicBezTo>
                      <a:lnTo>
                        <a:pt x="259" y="149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2" name="Freeform 81"/>
                <p:cNvSpPr>
                  <a:spLocks/>
                </p:cNvSpPr>
                <p:nvPr/>
              </p:nvSpPr>
              <p:spPr bwMode="gray">
                <a:xfrm>
                  <a:off x="4019550" y="3449638"/>
                  <a:ext cx="763587" cy="908050"/>
                </a:xfrm>
                <a:custGeom>
                  <a:avLst/>
                  <a:gdLst>
                    <a:gd name="T0" fmla="*/ 17 w 481"/>
                    <a:gd name="T1" fmla="*/ 299 h 572"/>
                    <a:gd name="T2" fmla="*/ 80 w 481"/>
                    <a:gd name="T3" fmla="*/ 268 h 572"/>
                    <a:gd name="T4" fmla="*/ 115 w 481"/>
                    <a:gd name="T5" fmla="*/ 220 h 572"/>
                    <a:gd name="T6" fmla="*/ 120 w 481"/>
                    <a:gd name="T7" fmla="*/ 198 h 572"/>
                    <a:gd name="T8" fmla="*/ 115 w 481"/>
                    <a:gd name="T9" fmla="*/ 174 h 572"/>
                    <a:gd name="T10" fmla="*/ 164 w 481"/>
                    <a:gd name="T11" fmla="*/ 216 h 572"/>
                    <a:gd name="T12" fmla="*/ 161 w 481"/>
                    <a:gd name="T13" fmla="*/ 148 h 572"/>
                    <a:gd name="T14" fmla="*/ 183 w 481"/>
                    <a:gd name="T15" fmla="*/ 127 h 572"/>
                    <a:gd name="T16" fmla="*/ 209 w 481"/>
                    <a:gd name="T17" fmla="*/ 60 h 572"/>
                    <a:gd name="T18" fmla="*/ 268 w 481"/>
                    <a:gd name="T19" fmla="*/ 12 h 572"/>
                    <a:gd name="T20" fmla="*/ 307 w 481"/>
                    <a:gd name="T21" fmla="*/ 39 h 572"/>
                    <a:gd name="T22" fmla="*/ 277 w 481"/>
                    <a:gd name="T23" fmla="*/ 127 h 572"/>
                    <a:gd name="T24" fmla="*/ 268 w 481"/>
                    <a:gd name="T25" fmla="*/ 243 h 572"/>
                    <a:gd name="T26" fmla="*/ 195 w 481"/>
                    <a:gd name="T27" fmla="*/ 311 h 572"/>
                    <a:gd name="T28" fmla="*/ 161 w 481"/>
                    <a:gd name="T29" fmla="*/ 311 h 572"/>
                    <a:gd name="T30" fmla="*/ 244 w 481"/>
                    <a:gd name="T31" fmla="*/ 314 h 572"/>
                    <a:gd name="T32" fmla="*/ 280 w 481"/>
                    <a:gd name="T33" fmla="*/ 231 h 572"/>
                    <a:gd name="T34" fmla="*/ 321 w 481"/>
                    <a:gd name="T35" fmla="*/ 260 h 572"/>
                    <a:gd name="T36" fmla="*/ 339 w 481"/>
                    <a:gd name="T37" fmla="*/ 311 h 572"/>
                    <a:gd name="T38" fmla="*/ 333 w 481"/>
                    <a:gd name="T39" fmla="*/ 279 h 572"/>
                    <a:gd name="T40" fmla="*/ 324 w 481"/>
                    <a:gd name="T41" fmla="*/ 207 h 572"/>
                    <a:gd name="T42" fmla="*/ 280 w 481"/>
                    <a:gd name="T43" fmla="*/ 180 h 572"/>
                    <a:gd name="T44" fmla="*/ 300 w 481"/>
                    <a:gd name="T45" fmla="*/ 86 h 572"/>
                    <a:gd name="T46" fmla="*/ 331 w 481"/>
                    <a:gd name="T47" fmla="*/ 27 h 572"/>
                    <a:gd name="T48" fmla="*/ 333 w 481"/>
                    <a:gd name="T49" fmla="*/ 110 h 572"/>
                    <a:gd name="T50" fmla="*/ 363 w 481"/>
                    <a:gd name="T51" fmla="*/ 110 h 572"/>
                    <a:gd name="T52" fmla="*/ 372 w 481"/>
                    <a:gd name="T53" fmla="*/ 90 h 572"/>
                    <a:gd name="T54" fmla="*/ 383 w 481"/>
                    <a:gd name="T55" fmla="*/ 44 h 572"/>
                    <a:gd name="T56" fmla="*/ 409 w 481"/>
                    <a:gd name="T57" fmla="*/ 98 h 572"/>
                    <a:gd name="T58" fmla="*/ 409 w 481"/>
                    <a:gd name="T59" fmla="*/ 138 h 572"/>
                    <a:gd name="T60" fmla="*/ 376 w 481"/>
                    <a:gd name="T61" fmla="*/ 179 h 572"/>
                    <a:gd name="T62" fmla="*/ 397 w 481"/>
                    <a:gd name="T63" fmla="*/ 227 h 572"/>
                    <a:gd name="T64" fmla="*/ 436 w 481"/>
                    <a:gd name="T65" fmla="*/ 279 h 572"/>
                    <a:gd name="T66" fmla="*/ 425 w 481"/>
                    <a:gd name="T67" fmla="*/ 315 h 572"/>
                    <a:gd name="T68" fmla="*/ 432 w 481"/>
                    <a:gd name="T69" fmla="*/ 359 h 572"/>
                    <a:gd name="T70" fmla="*/ 451 w 481"/>
                    <a:gd name="T71" fmla="*/ 415 h 572"/>
                    <a:gd name="T72" fmla="*/ 475 w 481"/>
                    <a:gd name="T73" fmla="*/ 456 h 572"/>
                    <a:gd name="T74" fmla="*/ 456 w 481"/>
                    <a:gd name="T75" fmla="*/ 507 h 572"/>
                    <a:gd name="T76" fmla="*/ 447 w 481"/>
                    <a:gd name="T77" fmla="*/ 554 h 572"/>
                    <a:gd name="T78" fmla="*/ 397 w 481"/>
                    <a:gd name="T79" fmla="*/ 544 h 572"/>
                    <a:gd name="T80" fmla="*/ 368 w 481"/>
                    <a:gd name="T81" fmla="*/ 522 h 572"/>
                    <a:gd name="T82" fmla="*/ 295 w 481"/>
                    <a:gd name="T83" fmla="*/ 543 h 572"/>
                    <a:gd name="T84" fmla="*/ 221 w 481"/>
                    <a:gd name="T85" fmla="*/ 502 h 572"/>
                    <a:gd name="T86" fmla="*/ 157 w 481"/>
                    <a:gd name="T87" fmla="*/ 475 h 572"/>
                    <a:gd name="T88" fmla="*/ 147 w 481"/>
                    <a:gd name="T89" fmla="*/ 442 h 572"/>
                    <a:gd name="T90" fmla="*/ 127 w 481"/>
                    <a:gd name="T91" fmla="*/ 404 h 572"/>
                    <a:gd name="T92" fmla="*/ 83 w 481"/>
                    <a:gd name="T93" fmla="*/ 415 h 572"/>
                    <a:gd name="T94" fmla="*/ 60 w 481"/>
                    <a:gd name="T95" fmla="*/ 379 h 572"/>
                    <a:gd name="T96" fmla="*/ 0 w 481"/>
                    <a:gd name="T97" fmla="*/ 354 h 572"/>
                    <a:gd name="T98" fmla="*/ 5 w 481"/>
                    <a:gd name="T99" fmla="*/ 304 h 5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481" h="572">
                      <a:moveTo>
                        <a:pt x="5" y="304"/>
                      </a:moveTo>
                      <a:lnTo>
                        <a:pt x="17" y="299"/>
                      </a:lnTo>
                      <a:lnTo>
                        <a:pt x="51" y="274"/>
                      </a:lnTo>
                      <a:lnTo>
                        <a:pt x="80" y="268"/>
                      </a:lnTo>
                      <a:lnTo>
                        <a:pt x="123" y="238"/>
                      </a:lnTo>
                      <a:lnTo>
                        <a:pt x="115" y="220"/>
                      </a:lnTo>
                      <a:lnTo>
                        <a:pt x="116" y="199"/>
                      </a:lnTo>
                      <a:lnTo>
                        <a:pt x="120" y="198"/>
                      </a:lnTo>
                      <a:lnTo>
                        <a:pt x="128" y="184"/>
                      </a:lnTo>
                      <a:lnTo>
                        <a:pt x="115" y="174"/>
                      </a:lnTo>
                      <a:lnTo>
                        <a:pt x="128" y="162"/>
                      </a:lnTo>
                      <a:lnTo>
                        <a:pt x="164" y="216"/>
                      </a:lnTo>
                      <a:lnTo>
                        <a:pt x="188" y="202"/>
                      </a:lnTo>
                      <a:lnTo>
                        <a:pt x="161" y="148"/>
                      </a:lnTo>
                      <a:lnTo>
                        <a:pt x="159" y="127"/>
                      </a:lnTo>
                      <a:lnTo>
                        <a:pt x="183" y="127"/>
                      </a:lnTo>
                      <a:lnTo>
                        <a:pt x="180" y="68"/>
                      </a:lnTo>
                      <a:lnTo>
                        <a:pt x="209" y="60"/>
                      </a:lnTo>
                      <a:lnTo>
                        <a:pt x="256" y="0"/>
                      </a:lnTo>
                      <a:lnTo>
                        <a:pt x="268" y="12"/>
                      </a:lnTo>
                      <a:lnTo>
                        <a:pt x="295" y="15"/>
                      </a:lnTo>
                      <a:lnTo>
                        <a:pt x="307" y="39"/>
                      </a:lnTo>
                      <a:lnTo>
                        <a:pt x="273" y="71"/>
                      </a:lnTo>
                      <a:lnTo>
                        <a:pt x="277" y="127"/>
                      </a:lnTo>
                      <a:lnTo>
                        <a:pt x="251" y="196"/>
                      </a:lnTo>
                      <a:lnTo>
                        <a:pt x="268" y="243"/>
                      </a:lnTo>
                      <a:lnTo>
                        <a:pt x="227" y="284"/>
                      </a:lnTo>
                      <a:lnTo>
                        <a:pt x="195" y="311"/>
                      </a:lnTo>
                      <a:lnTo>
                        <a:pt x="161" y="292"/>
                      </a:lnTo>
                      <a:lnTo>
                        <a:pt x="161" y="311"/>
                      </a:lnTo>
                      <a:lnTo>
                        <a:pt x="197" y="338"/>
                      </a:lnTo>
                      <a:lnTo>
                        <a:pt x="244" y="314"/>
                      </a:lnTo>
                      <a:lnTo>
                        <a:pt x="285" y="267"/>
                      </a:lnTo>
                      <a:lnTo>
                        <a:pt x="280" y="231"/>
                      </a:lnTo>
                      <a:lnTo>
                        <a:pt x="304" y="226"/>
                      </a:lnTo>
                      <a:lnTo>
                        <a:pt x="321" y="260"/>
                      </a:lnTo>
                      <a:lnTo>
                        <a:pt x="316" y="280"/>
                      </a:lnTo>
                      <a:lnTo>
                        <a:pt x="339" y="311"/>
                      </a:lnTo>
                      <a:lnTo>
                        <a:pt x="360" y="302"/>
                      </a:lnTo>
                      <a:lnTo>
                        <a:pt x="333" y="279"/>
                      </a:lnTo>
                      <a:lnTo>
                        <a:pt x="345" y="243"/>
                      </a:lnTo>
                      <a:lnTo>
                        <a:pt x="324" y="207"/>
                      </a:lnTo>
                      <a:lnTo>
                        <a:pt x="280" y="204"/>
                      </a:lnTo>
                      <a:lnTo>
                        <a:pt x="280" y="180"/>
                      </a:lnTo>
                      <a:lnTo>
                        <a:pt x="307" y="127"/>
                      </a:lnTo>
                      <a:lnTo>
                        <a:pt x="300" y="86"/>
                      </a:lnTo>
                      <a:lnTo>
                        <a:pt x="321" y="66"/>
                      </a:lnTo>
                      <a:lnTo>
                        <a:pt x="331" y="27"/>
                      </a:lnTo>
                      <a:lnTo>
                        <a:pt x="336" y="78"/>
                      </a:lnTo>
                      <a:lnTo>
                        <a:pt x="333" y="110"/>
                      </a:lnTo>
                      <a:lnTo>
                        <a:pt x="360" y="122"/>
                      </a:lnTo>
                      <a:lnTo>
                        <a:pt x="363" y="110"/>
                      </a:lnTo>
                      <a:lnTo>
                        <a:pt x="348" y="80"/>
                      </a:lnTo>
                      <a:lnTo>
                        <a:pt x="372" y="90"/>
                      </a:lnTo>
                      <a:lnTo>
                        <a:pt x="368" y="51"/>
                      </a:lnTo>
                      <a:lnTo>
                        <a:pt x="383" y="44"/>
                      </a:lnTo>
                      <a:lnTo>
                        <a:pt x="383" y="70"/>
                      </a:lnTo>
                      <a:lnTo>
                        <a:pt x="409" y="98"/>
                      </a:lnTo>
                      <a:lnTo>
                        <a:pt x="389" y="108"/>
                      </a:lnTo>
                      <a:lnTo>
                        <a:pt x="409" y="138"/>
                      </a:lnTo>
                      <a:lnTo>
                        <a:pt x="415" y="160"/>
                      </a:lnTo>
                      <a:lnTo>
                        <a:pt x="376" y="179"/>
                      </a:lnTo>
                      <a:lnTo>
                        <a:pt x="379" y="200"/>
                      </a:lnTo>
                      <a:lnTo>
                        <a:pt x="397" y="227"/>
                      </a:lnTo>
                      <a:lnTo>
                        <a:pt x="428" y="228"/>
                      </a:lnTo>
                      <a:lnTo>
                        <a:pt x="436" y="279"/>
                      </a:lnTo>
                      <a:lnTo>
                        <a:pt x="413" y="296"/>
                      </a:lnTo>
                      <a:lnTo>
                        <a:pt x="425" y="315"/>
                      </a:lnTo>
                      <a:lnTo>
                        <a:pt x="415" y="332"/>
                      </a:lnTo>
                      <a:lnTo>
                        <a:pt x="432" y="359"/>
                      </a:lnTo>
                      <a:lnTo>
                        <a:pt x="428" y="392"/>
                      </a:lnTo>
                      <a:lnTo>
                        <a:pt x="451" y="415"/>
                      </a:lnTo>
                      <a:lnTo>
                        <a:pt x="448" y="444"/>
                      </a:lnTo>
                      <a:lnTo>
                        <a:pt x="475" y="456"/>
                      </a:lnTo>
                      <a:lnTo>
                        <a:pt x="481" y="483"/>
                      </a:lnTo>
                      <a:lnTo>
                        <a:pt x="456" y="507"/>
                      </a:lnTo>
                      <a:lnTo>
                        <a:pt x="471" y="536"/>
                      </a:lnTo>
                      <a:lnTo>
                        <a:pt x="447" y="554"/>
                      </a:lnTo>
                      <a:lnTo>
                        <a:pt x="440" y="572"/>
                      </a:lnTo>
                      <a:lnTo>
                        <a:pt x="397" y="544"/>
                      </a:lnTo>
                      <a:lnTo>
                        <a:pt x="375" y="544"/>
                      </a:lnTo>
                      <a:lnTo>
                        <a:pt x="368" y="522"/>
                      </a:lnTo>
                      <a:lnTo>
                        <a:pt x="341" y="546"/>
                      </a:lnTo>
                      <a:lnTo>
                        <a:pt x="295" y="543"/>
                      </a:lnTo>
                      <a:lnTo>
                        <a:pt x="260" y="507"/>
                      </a:lnTo>
                      <a:lnTo>
                        <a:pt x="221" y="502"/>
                      </a:lnTo>
                      <a:lnTo>
                        <a:pt x="188" y="479"/>
                      </a:lnTo>
                      <a:lnTo>
                        <a:pt x="157" y="475"/>
                      </a:lnTo>
                      <a:lnTo>
                        <a:pt x="160" y="454"/>
                      </a:lnTo>
                      <a:lnTo>
                        <a:pt x="147" y="442"/>
                      </a:lnTo>
                      <a:lnTo>
                        <a:pt x="147" y="423"/>
                      </a:lnTo>
                      <a:lnTo>
                        <a:pt x="127" y="404"/>
                      </a:lnTo>
                      <a:lnTo>
                        <a:pt x="112" y="415"/>
                      </a:lnTo>
                      <a:lnTo>
                        <a:pt x="83" y="415"/>
                      </a:lnTo>
                      <a:lnTo>
                        <a:pt x="79" y="390"/>
                      </a:lnTo>
                      <a:lnTo>
                        <a:pt x="60" y="379"/>
                      </a:lnTo>
                      <a:lnTo>
                        <a:pt x="20" y="379"/>
                      </a:lnTo>
                      <a:lnTo>
                        <a:pt x="0" y="354"/>
                      </a:lnTo>
                      <a:lnTo>
                        <a:pt x="15" y="322"/>
                      </a:lnTo>
                      <a:lnTo>
                        <a:pt x="5" y="304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3" name="Freeform 82"/>
                <p:cNvSpPr>
                  <a:spLocks/>
                </p:cNvSpPr>
                <p:nvPr/>
              </p:nvSpPr>
              <p:spPr bwMode="gray">
                <a:xfrm>
                  <a:off x="3881438" y="4427538"/>
                  <a:ext cx="431800" cy="360363"/>
                </a:xfrm>
                <a:custGeom>
                  <a:avLst/>
                  <a:gdLst>
                    <a:gd name="T0" fmla="*/ 272 w 272"/>
                    <a:gd name="T1" fmla="*/ 102 h 227"/>
                    <a:gd name="T2" fmla="*/ 246 w 272"/>
                    <a:gd name="T3" fmla="*/ 123 h 227"/>
                    <a:gd name="T4" fmla="*/ 228 w 272"/>
                    <a:gd name="T5" fmla="*/ 112 h 227"/>
                    <a:gd name="T6" fmla="*/ 215 w 272"/>
                    <a:gd name="T7" fmla="*/ 124 h 227"/>
                    <a:gd name="T8" fmla="*/ 179 w 272"/>
                    <a:gd name="T9" fmla="*/ 111 h 227"/>
                    <a:gd name="T10" fmla="*/ 182 w 272"/>
                    <a:gd name="T11" fmla="*/ 91 h 227"/>
                    <a:gd name="T12" fmla="*/ 172 w 272"/>
                    <a:gd name="T13" fmla="*/ 80 h 227"/>
                    <a:gd name="T14" fmla="*/ 152 w 272"/>
                    <a:gd name="T15" fmla="*/ 100 h 227"/>
                    <a:gd name="T16" fmla="*/ 152 w 272"/>
                    <a:gd name="T17" fmla="*/ 132 h 227"/>
                    <a:gd name="T18" fmla="*/ 166 w 272"/>
                    <a:gd name="T19" fmla="*/ 148 h 227"/>
                    <a:gd name="T20" fmla="*/ 166 w 272"/>
                    <a:gd name="T21" fmla="*/ 168 h 227"/>
                    <a:gd name="T22" fmla="*/ 147 w 272"/>
                    <a:gd name="T23" fmla="*/ 178 h 227"/>
                    <a:gd name="T24" fmla="*/ 146 w 272"/>
                    <a:gd name="T25" fmla="*/ 195 h 227"/>
                    <a:gd name="T26" fmla="*/ 126 w 272"/>
                    <a:gd name="T27" fmla="*/ 203 h 227"/>
                    <a:gd name="T28" fmla="*/ 122 w 272"/>
                    <a:gd name="T29" fmla="*/ 227 h 227"/>
                    <a:gd name="T30" fmla="*/ 70 w 272"/>
                    <a:gd name="T31" fmla="*/ 210 h 227"/>
                    <a:gd name="T32" fmla="*/ 59 w 272"/>
                    <a:gd name="T33" fmla="*/ 190 h 227"/>
                    <a:gd name="T34" fmla="*/ 43 w 272"/>
                    <a:gd name="T35" fmla="*/ 183 h 227"/>
                    <a:gd name="T36" fmla="*/ 38 w 272"/>
                    <a:gd name="T37" fmla="*/ 166 h 227"/>
                    <a:gd name="T38" fmla="*/ 16 w 272"/>
                    <a:gd name="T39" fmla="*/ 166 h 227"/>
                    <a:gd name="T40" fmla="*/ 2 w 272"/>
                    <a:gd name="T41" fmla="*/ 143 h 227"/>
                    <a:gd name="T42" fmla="*/ 0 w 272"/>
                    <a:gd name="T43" fmla="*/ 116 h 227"/>
                    <a:gd name="T44" fmla="*/ 3 w 272"/>
                    <a:gd name="T45" fmla="*/ 118 h 227"/>
                    <a:gd name="T46" fmla="*/ 15 w 272"/>
                    <a:gd name="T47" fmla="*/ 70 h 227"/>
                    <a:gd name="T48" fmla="*/ 34 w 272"/>
                    <a:gd name="T49" fmla="*/ 71 h 227"/>
                    <a:gd name="T50" fmla="*/ 51 w 272"/>
                    <a:gd name="T51" fmla="*/ 44 h 227"/>
                    <a:gd name="T52" fmla="*/ 75 w 272"/>
                    <a:gd name="T53" fmla="*/ 42 h 227"/>
                    <a:gd name="T54" fmla="*/ 87 w 272"/>
                    <a:gd name="T55" fmla="*/ 28 h 227"/>
                    <a:gd name="T56" fmla="*/ 116 w 272"/>
                    <a:gd name="T57" fmla="*/ 27 h 227"/>
                    <a:gd name="T58" fmla="*/ 147 w 272"/>
                    <a:gd name="T59" fmla="*/ 15 h 227"/>
                    <a:gd name="T60" fmla="*/ 147 w 272"/>
                    <a:gd name="T61" fmla="*/ 15 h 227"/>
                    <a:gd name="T62" fmla="*/ 155 w 272"/>
                    <a:gd name="T63" fmla="*/ 0 h 227"/>
                    <a:gd name="T64" fmla="*/ 176 w 272"/>
                    <a:gd name="T65" fmla="*/ 15 h 227"/>
                    <a:gd name="T66" fmla="*/ 191 w 272"/>
                    <a:gd name="T67" fmla="*/ 20 h 227"/>
                    <a:gd name="T68" fmla="*/ 211 w 272"/>
                    <a:gd name="T69" fmla="*/ 44 h 227"/>
                    <a:gd name="T70" fmla="*/ 232 w 272"/>
                    <a:gd name="T71" fmla="*/ 86 h 227"/>
                    <a:gd name="T72" fmla="*/ 263 w 272"/>
                    <a:gd name="T73" fmla="*/ 91 h 227"/>
                    <a:gd name="T74" fmla="*/ 272 w 272"/>
                    <a:gd name="T75" fmla="*/ 102 h 2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272" h="227">
                      <a:moveTo>
                        <a:pt x="272" y="102"/>
                      </a:moveTo>
                      <a:lnTo>
                        <a:pt x="246" y="123"/>
                      </a:lnTo>
                      <a:lnTo>
                        <a:pt x="228" y="112"/>
                      </a:lnTo>
                      <a:lnTo>
                        <a:pt x="215" y="124"/>
                      </a:lnTo>
                      <a:lnTo>
                        <a:pt x="179" y="111"/>
                      </a:lnTo>
                      <a:lnTo>
                        <a:pt x="182" y="91"/>
                      </a:lnTo>
                      <a:lnTo>
                        <a:pt x="172" y="80"/>
                      </a:lnTo>
                      <a:lnTo>
                        <a:pt x="152" y="100"/>
                      </a:lnTo>
                      <a:lnTo>
                        <a:pt x="152" y="132"/>
                      </a:lnTo>
                      <a:lnTo>
                        <a:pt x="166" y="148"/>
                      </a:lnTo>
                      <a:lnTo>
                        <a:pt x="166" y="168"/>
                      </a:lnTo>
                      <a:lnTo>
                        <a:pt x="147" y="178"/>
                      </a:lnTo>
                      <a:lnTo>
                        <a:pt x="146" y="195"/>
                      </a:lnTo>
                      <a:lnTo>
                        <a:pt x="126" y="203"/>
                      </a:lnTo>
                      <a:lnTo>
                        <a:pt x="122" y="227"/>
                      </a:lnTo>
                      <a:lnTo>
                        <a:pt x="70" y="210"/>
                      </a:lnTo>
                      <a:lnTo>
                        <a:pt x="59" y="190"/>
                      </a:lnTo>
                      <a:lnTo>
                        <a:pt x="43" y="183"/>
                      </a:lnTo>
                      <a:lnTo>
                        <a:pt x="38" y="166"/>
                      </a:lnTo>
                      <a:lnTo>
                        <a:pt x="16" y="166"/>
                      </a:lnTo>
                      <a:lnTo>
                        <a:pt x="2" y="143"/>
                      </a:lnTo>
                      <a:lnTo>
                        <a:pt x="0" y="116"/>
                      </a:lnTo>
                      <a:lnTo>
                        <a:pt x="3" y="118"/>
                      </a:lnTo>
                      <a:lnTo>
                        <a:pt x="15" y="70"/>
                      </a:lnTo>
                      <a:lnTo>
                        <a:pt x="34" y="71"/>
                      </a:lnTo>
                      <a:lnTo>
                        <a:pt x="51" y="44"/>
                      </a:lnTo>
                      <a:lnTo>
                        <a:pt x="75" y="42"/>
                      </a:lnTo>
                      <a:lnTo>
                        <a:pt x="87" y="28"/>
                      </a:lnTo>
                      <a:lnTo>
                        <a:pt x="116" y="27"/>
                      </a:lnTo>
                      <a:lnTo>
                        <a:pt x="147" y="15"/>
                      </a:lnTo>
                      <a:lnTo>
                        <a:pt x="147" y="15"/>
                      </a:lnTo>
                      <a:lnTo>
                        <a:pt x="155" y="0"/>
                      </a:lnTo>
                      <a:lnTo>
                        <a:pt x="176" y="15"/>
                      </a:lnTo>
                      <a:lnTo>
                        <a:pt x="191" y="20"/>
                      </a:lnTo>
                      <a:lnTo>
                        <a:pt x="211" y="44"/>
                      </a:lnTo>
                      <a:lnTo>
                        <a:pt x="232" y="86"/>
                      </a:lnTo>
                      <a:lnTo>
                        <a:pt x="263" y="91"/>
                      </a:lnTo>
                      <a:lnTo>
                        <a:pt x="272" y="102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5" name="Freeform 84"/>
                <p:cNvSpPr>
                  <a:spLocks/>
                </p:cNvSpPr>
                <p:nvPr/>
              </p:nvSpPr>
              <p:spPr bwMode="gray">
                <a:xfrm>
                  <a:off x="4857750" y="3744913"/>
                  <a:ext cx="688975" cy="860425"/>
                </a:xfrm>
                <a:custGeom>
                  <a:avLst/>
                  <a:gdLst>
                    <a:gd name="T0" fmla="*/ 49 w 434"/>
                    <a:gd name="T1" fmla="*/ 133 h 542"/>
                    <a:gd name="T2" fmla="*/ 91 w 434"/>
                    <a:gd name="T3" fmla="*/ 92 h 542"/>
                    <a:gd name="T4" fmla="*/ 125 w 434"/>
                    <a:gd name="T5" fmla="*/ 48 h 542"/>
                    <a:gd name="T6" fmla="*/ 203 w 434"/>
                    <a:gd name="T7" fmla="*/ 0 h 542"/>
                    <a:gd name="T8" fmla="*/ 266 w 434"/>
                    <a:gd name="T9" fmla="*/ 22 h 542"/>
                    <a:gd name="T10" fmla="*/ 322 w 434"/>
                    <a:gd name="T11" fmla="*/ 10 h 542"/>
                    <a:gd name="T12" fmla="*/ 339 w 434"/>
                    <a:gd name="T13" fmla="*/ 33 h 542"/>
                    <a:gd name="T14" fmla="*/ 351 w 434"/>
                    <a:gd name="T15" fmla="*/ 86 h 542"/>
                    <a:gd name="T16" fmla="*/ 342 w 434"/>
                    <a:gd name="T17" fmla="*/ 134 h 542"/>
                    <a:gd name="T18" fmla="*/ 360 w 434"/>
                    <a:gd name="T19" fmla="*/ 172 h 542"/>
                    <a:gd name="T20" fmla="*/ 368 w 434"/>
                    <a:gd name="T21" fmla="*/ 218 h 542"/>
                    <a:gd name="T22" fmla="*/ 426 w 434"/>
                    <a:gd name="T23" fmla="*/ 249 h 542"/>
                    <a:gd name="T24" fmla="*/ 428 w 434"/>
                    <a:gd name="T25" fmla="*/ 270 h 542"/>
                    <a:gd name="T26" fmla="*/ 403 w 434"/>
                    <a:gd name="T27" fmla="*/ 305 h 542"/>
                    <a:gd name="T28" fmla="*/ 412 w 434"/>
                    <a:gd name="T29" fmla="*/ 348 h 542"/>
                    <a:gd name="T30" fmla="*/ 379 w 434"/>
                    <a:gd name="T31" fmla="*/ 414 h 542"/>
                    <a:gd name="T32" fmla="*/ 411 w 434"/>
                    <a:gd name="T33" fmla="*/ 458 h 542"/>
                    <a:gd name="T34" fmla="*/ 404 w 434"/>
                    <a:gd name="T35" fmla="*/ 489 h 542"/>
                    <a:gd name="T36" fmla="*/ 410 w 434"/>
                    <a:gd name="T37" fmla="*/ 542 h 542"/>
                    <a:gd name="T38" fmla="*/ 360 w 434"/>
                    <a:gd name="T39" fmla="*/ 510 h 542"/>
                    <a:gd name="T40" fmla="*/ 335 w 434"/>
                    <a:gd name="T41" fmla="*/ 496 h 542"/>
                    <a:gd name="T42" fmla="*/ 276 w 434"/>
                    <a:gd name="T43" fmla="*/ 488 h 542"/>
                    <a:gd name="T44" fmla="*/ 212 w 434"/>
                    <a:gd name="T45" fmla="*/ 517 h 542"/>
                    <a:gd name="T46" fmla="*/ 156 w 434"/>
                    <a:gd name="T47" fmla="*/ 502 h 542"/>
                    <a:gd name="T48" fmla="*/ 120 w 434"/>
                    <a:gd name="T49" fmla="*/ 450 h 542"/>
                    <a:gd name="T50" fmla="*/ 92 w 434"/>
                    <a:gd name="T51" fmla="*/ 457 h 542"/>
                    <a:gd name="T52" fmla="*/ 44 w 434"/>
                    <a:gd name="T53" fmla="*/ 434 h 542"/>
                    <a:gd name="T54" fmla="*/ 28 w 434"/>
                    <a:gd name="T55" fmla="*/ 400 h 542"/>
                    <a:gd name="T56" fmla="*/ 61 w 434"/>
                    <a:gd name="T57" fmla="*/ 377 h 542"/>
                    <a:gd name="T58" fmla="*/ 88 w 434"/>
                    <a:gd name="T59" fmla="*/ 326 h 542"/>
                    <a:gd name="T60" fmla="*/ 8 w 434"/>
                    <a:gd name="T61" fmla="*/ 272 h 542"/>
                    <a:gd name="T62" fmla="*/ 0 w 434"/>
                    <a:gd name="T63" fmla="*/ 234 h 542"/>
                    <a:gd name="T64" fmla="*/ 8 w 434"/>
                    <a:gd name="T65" fmla="*/ 193 h 542"/>
                    <a:gd name="T66" fmla="*/ 48 w 434"/>
                    <a:gd name="T67" fmla="*/ 154 h 5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434" h="542">
                      <a:moveTo>
                        <a:pt x="48" y="141"/>
                      </a:moveTo>
                      <a:lnTo>
                        <a:pt x="49" y="133"/>
                      </a:lnTo>
                      <a:lnTo>
                        <a:pt x="68" y="125"/>
                      </a:lnTo>
                      <a:lnTo>
                        <a:pt x="91" y="92"/>
                      </a:lnTo>
                      <a:lnTo>
                        <a:pt x="111" y="86"/>
                      </a:lnTo>
                      <a:lnTo>
                        <a:pt x="125" y="48"/>
                      </a:lnTo>
                      <a:lnTo>
                        <a:pt x="185" y="16"/>
                      </a:lnTo>
                      <a:lnTo>
                        <a:pt x="203" y="0"/>
                      </a:lnTo>
                      <a:lnTo>
                        <a:pt x="220" y="14"/>
                      </a:lnTo>
                      <a:lnTo>
                        <a:pt x="266" y="22"/>
                      </a:lnTo>
                      <a:lnTo>
                        <a:pt x="303" y="18"/>
                      </a:lnTo>
                      <a:lnTo>
                        <a:pt x="322" y="10"/>
                      </a:lnTo>
                      <a:lnTo>
                        <a:pt x="322" y="12"/>
                      </a:lnTo>
                      <a:lnTo>
                        <a:pt x="339" y="33"/>
                      </a:lnTo>
                      <a:lnTo>
                        <a:pt x="352" y="62"/>
                      </a:lnTo>
                      <a:lnTo>
                        <a:pt x="351" y="86"/>
                      </a:lnTo>
                      <a:lnTo>
                        <a:pt x="360" y="106"/>
                      </a:lnTo>
                      <a:lnTo>
                        <a:pt x="342" y="134"/>
                      </a:lnTo>
                      <a:lnTo>
                        <a:pt x="355" y="141"/>
                      </a:lnTo>
                      <a:lnTo>
                        <a:pt x="360" y="172"/>
                      </a:lnTo>
                      <a:lnTo>
                        <a:pt x="380" y="192"/>
                      </a:lnTo>
                      <a:lnTo>
                        <a:pt x="368" y="218"/>
                      </a:lnTo>
                      <a:lnTo>
                        <a:pt x="378" y="249"/>
                      </a:lnTo>
                      <a:lnTo>
                        <a:pt x="426" y="249"/>
                      </a:lnTo>
                      <a:lnTo>
                        <a:pt x="434" y="262"/>
                      </a:lnTo>
                      <a:lnTo>
                        <a:pt x="428" y="270"/>
                      </a:lnTo>
                      <a:lnTo>
                        <a:pt x="408" y="270"/>
                      </a:lnTo>
                      <a:lnTo>
                        <a:pt x="403" y="305"/>
                      </a:lnTo>
                      <a:lnTo>
                        <a:pt x="395" y="320"/>
                      </a:lnTo>
                      <a:lnTo>
                        <a:pt x="412" y="348"/>
                      </a:lnTo>
                      <a:lnTo>
                        <a:pt x="407" y="370"/>
                      </a:lnTo>
                      <a:lnTo>
                        <a:pt x="379" y="414"/>
                      </a:lnTo>
                      <a:lnTo>
                        <a:pt x="387" y="441"/>
                      </a:lnTo>
                      <a:lnTo>
                        <a:pt x="411" y="458"/>
                      </a:lnTo>
                      <a:lnTo>
                        <a:pt x="416" y="480"/>
                      </a:lnTo>
                      <a:lnTo>
                        <a:pt x="404" y="489"/>
                      </a:lnTo>
                      <a:lnTo>
                        <a:pt x="418" y="510"/>
                      </a:lnTo>
                      <a:lnTo>
                        <a:pt x="410" y="542"/>
                      </a:lnTo>
                      <a:lnTo>
                        <a:pt x="378" y="528"/>
                      </a:lnTo>
                      <a:lnTo>
                        <a:pt x="360" y="510"/>
                      </a:lnTo>
                      <a:lnTo>
                        <a:pt x="350" y="510"/>
                      </a:lnTo>
                      <a:lnTo>
                        <a:pt x="335" y="496"/>
                      </a:lnTo>
                      <a:lnTo>
                        <a:pt x="298" y="498"/>
                      </a:lnTo>
                      <a:lnTo>
                        <a:pt x="276" y="488"/>
                      </a:lnTo>
                      <a:lnTo>
                        <a:pt x="259" y="505"/>
                      </a:lnTo>
                      <a:lnTo>
                        <a:pt x="212" y="517"/>
                      </a:lnTo>
                      <a:lnTo>
                        <a:pt x="171" y="520"/>
                      </a:lnTo>
                      <a:lnTo>
                        <a:pt x="156" y="502"/>
                      </a:lnTo>
                      <a:lnTo>
                        <a:pt x="156" y="452"/>
                      </a:lnTo>
                      <a:lnTo>
                        <a:pt x="120" y="450"/>
                      </a:lnTo>
                      <a:lnTo>
                        <a:pt x="103" y="438"/>
                      </a:lnTo>
                      <a:lnTo>
                        <a:pt x="92" y="457"/>
                      </a:lnTo>
                      <a:lnTo>
                        <a:pt x="61" y="472"/>
                      </a:lnTo>
                      <a:lnTo>
                        <a:pt x="44" y="434"/>
                      </a:lnTo>
                      <a:lnTo>
                        <a:pt x="55" y="420"/>
                      </a:lnTo>
                      <a:lnTo>
                        <a:pt x="28" y="400"/>
                      </a:lnTo>
                      <a:lnTo>
                        <a:pt x="45" y="382"/>
                      </a:lnTo>
                      <a:lnTo>
                        <a:pt x="61" y="377"/>
                      </a:lnTo>
                      <a:lnTo>
                        <a:pt x="69" y="336"/>
                      </a:lnTo>
                      <a:lnTo>
                        <a:pt x="88" y="326"/>
                      </a:lnTo>
                      <a:lnTo>
                        <a:pt x="65" y="293"/>
                      </a:lnTo>
                      <a:lnTo>
                        <a:pt x="8" y="272"/>
                      </a:lnTo>
                      <a:lnTo>
                        <a:pt x="13" y="245"/>
                      </a:lnTo>
                      <a:lnTo>
                        <a:pt x="0" y="234"/>
                      </a:lnTo>
                      <a:lnTo>
                        <a:pt x="13" y="218"/>
                      </a:lnTo>
                      <a:lnTo>
                        <a:pt x="8" y="193"/>
                      </a:lnTo>
                      <a:lnTo>
                        <a:pt x="28" y="189"/>
                      </a:lnTo>
                      <a:lnTo>
                        <a:pt x="48" y="154"/>
                      </a:lnTo>
                      <a:lnTo>
                        <a:pt x="48" y="141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6" name="Freeform 85"/>
                <p:cNvSpPr>
                  <a:spLocks/>
                </p:cNvSpPr>
                <p:nvPr/>
              </p:nvSpPr>
              <p:spPr bwMode="gray">
                <a:xfrm>
                  <a:off x="2266950" y="3498850"/>
                  <a:ext cx="103187" cy="133350"/>
                </a:xfrm>
                <a:custGeom>
                  <a:avLst/>
                  <a:gdLst>
                    <a:gd name="T0" fmla="*/ 0 w 65"/>
                    <a:gd name="T1" fmla="*/ 15 h 84"/>
                    <a:gd name="T2" fmla="*/ 41 w 65"/>
                    <a:gd name="T3" fmla="*/ 84 h 84"/>
                    <a:gd name="T4" fmla="*/ 42 w 65"/>
                    <a:gd name="T5" fmla="*/ 84 h 84"/>
                    <a:gd name="T6" fmla="*/ 45 w 65"/>
                    <a:gd name="T7" fmla="*/ 72 h 84"/>
                    <a:gd name="T8" fmla="*/ 60 w 65"/>
                    <a:gd name="T9" fmla="*/ 72 h 84"/>
                    <a:gd name="T10" fmla="*/ 65 w 65"/>
                    <a:gd name="T11" fmla="*/ 65 h 84"/>
                    <a:gd name="T12" fmla="*/ 52 w 65"/>
                    <a:gd name="T13" fmla="*/ 52 h 84"/>
                    <a:gd name="T14" fmla="*/ 52 w 65"/>
                    <a:gd name="T15" fmla="*/ 20 h 84"/>
                    <a:gd name="T16" fmla="*/ 52 w 65"/>
                    <a:gd name="T17" fmla="*/ 20 h 84"/>
                    <a:gd name="T18" fmla="*/ 45 w 65"/>
                    <a:gd name="T19" fmla="*/ 24 h 84"/>
                    <a:gd name="T20" fmla="*/ 24 w 65"/>
                    <a:gd name="T21" fmla="*/ 0 h 84"/>
                    <a:gd name="T22" fmla="*/ 13 w 65"/>
                    <a:gd name="T23" fmla="*/ 0 h 84"/>
                    <a:gd name="T24" fmla="*/ 0 w 65"/>
                    <a:gd name="T25" fmla="*/ 15 h 84"/>
                    <a:gd name="T26" fmla="*/ 0 w 65"/>
                    <a:gd name="T27" fmla="*/ 15 h 84"/>
                    <a:gd name="T28" fmla="*/ 0 w 65"/>
                    <a:gd name="T29" fmla="*/ 15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65" h="84">
                      <a:moveTo>
                        <a:pt x="0" y="15"/>
                      </a:moveTo>
                      <a:lnTo>
                        <a:pt x="41" y="84"/>
                      </a:lnTo>
                      <a:lnTo>
                        <a:pt x="42" y="84"/>
                      </a:lnTo>
                      <a:lnTo>
                        <a:pt x="45" y="72"/>
                      </a:lnTo>
                      <a:lnTo>
                        <a:pt x="60" y="72"/>
                      </a:lnTo>
                      <a:lnTo>
                        <a:pt x="65" y="65"/>
                      </a:lnTo>
                      <a:lnTo>
                        <a:pt x="52" y="52"/>
                      </a:lnTo>
                      <a:lnTo>
                        <a:pt x="52" y="20"/>
                      </a:lnTo>
                      <a:lnTo>
                        <a:pt x="52" y="20"/>
                      </a:lnTo>
                      <a:lnTo>
                        <a:pt x="45" y="24"/>
                      </a:lnTo>
                      <a:lnTo>
                        <a:pt x="24" y="0"/>
                      </a:lnTo>
                      <a:lnTo>
                        <a:pt x="13" y="0"/>
                      </a:lnTo>
                      <a:lnTo>
                        <a:pt x="0" y="15"/>
                      </a:lnTo>
                      <a:lnTo>
                        <a:pt x="0" y="15"/>
                      </a:lnTo>
                      <a:lnTo>
                        <a:pt x="0" y="15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7" name="Freeform 86"/>
                <p:cNvSpPr>
                  <a:spLocks/>
                </p:cNvSpPr>
                <p:nvPr/>
              </p:nvSpPr>
              <p:spPr bwMode="gray">
                <a:xfrm>
                  <a:off x="7067550" y="4141788"/>
                  <a:ext cx="471487" cy="506413"/>
                </a:xfrm>
                <a:custGeom>
                  <a:avLst/>
                  <a:gdLst>
                    <a:gd name="T0" fmla="*/ 74 w 297"/>
                    <a:gd name="T1" fmla="*/ 52 h 319"/>
                    <a:gd name="T2" fmla="*/ 46 w 297"/>
                    <a:gd name="T3" fmla="*/ 22 h 319"/>
                    <a:gd name="T4" fmla="*/ 34 w 297"/>
                    <a:gd name="T5" fmla="*/ 26 h 319"/>
                    <a:gd name="T6" fmla="*/ 10 w 297"/>
                    <a:gd name="T7" fmla="*/ 0 h 319"/>
                    <a:gd name="T8" fmla="*/ 0 w 297"/>
                    <a:gd name="T9" fmla="*/ 15 h 319"/>
                    <a:gd name="T10" fmla="*/ 19 w 297"/>
                    <a:gd name="T11" fmla="*/ 26 h 319"/>
                    <a:gd name="T12" fmla="*/ 26 w 297"/>
                    <a:gd name="T13" fmla="*/ 42 h 319"/>
                    <a:gd name="T14" fmla="*/ 11 w 297"/>
                    <a:gd name="T15" fmla="*/ 44 h 319"/>
                    <a:gd name="T16" fmla="*/ 15 w 297"/>
                    <a:gd name="T17" fmla="*/ 63 h 319"/>
                    <a:gd name="T18" fmla="*/ 36 w 297"/>
                    <a:gd name="T19" fmla="*/ 82 h 319"/>
                    <a:gd name="T20" fmla="*/ 60 w 297"/>
                    <a:gd name="T21" fmla="*/ 112 h 319"/>
                    <a:gd name="T22" fmla="*/ 79 w 297"/>
                    <a:gd name="T23" fmla="*/ 115 h 319"/>
                    <a:gd name="T24" fmla="*/ 106 w 297"/>
                    <a:gd name="T25" fmla="*/ 142 h 319"/>
                    <a:gd name="T26" fmla="*/ 115 w 297"/>
                    <a:gd name="T27" fmla="*/ 168 h 319"/>
                    <a:gd name="T28" fmla="*/ 142 w 297"/>
                    <a:gd name="T29" fmla="*/ 180 h 319"/>
                    <a:gd name="T30" fmla="*/ 161 w 297"/>
                    <a:gd name="T31" fmla="*/ 218 h 319"/>
                    <a:gd name="T32" fmla="*/ 198 w 297"/>
                    <a:gd name="T33" fmla="*/ 243 h 319"/>
                    <a:gd name="T34" fmla="*/ 201 w 297"/>
                    <a:gd name="T35" fmla="*/ 266 h 319"/>
                    <a:gd name="T36" fmla="*/ 242 w 297"/>
                    <a:gd name="T37" fmla="*/ 307 h 319"/>
                    <a:gd name="T38" fmla="*/ 270 w 297"/>
                    <a:gd name="T39" fmla="*/ 319 h 319"/>
                    <a:gd name="T40" fmla="*/ 253 w 297"/>
                    <a:gd name="T41" fmla="*/ 287 h 319"/>
                    <a:gd name="T42" fmla="*/ 261 w 297"/>
                    <a:gd name="T43" fmla="*/ 278 h 319"/>
                    <a:gd name="T44" fmla="*/ 278 w 297"/>
                    <a:gd name="T45" fmla="*/ 276 h 319"/>
                    <a:gd name="T46" fmla="*/ 286 w 297"/>
                    <a:gd name="T47" fmla="*/ 286 h 319"/>
                    <a:gd name="T48" fmla="*/ 297 w 297"/>
                    <a:gd name="T49" fmla="*/ 271 h 319"/>
                    <a:gd name="T50" fmla="*/ 275 w 297"/>
                    <a:gd name="T51" fmla="*/ 252 h 319"/>
                    <a:gd name="T52" fmla="*/ 229 w 297"/>
                    <a:gd name="T53" fmla="*/ 240 h 319"/>
                    <a:gd name="T54" fmla="*/ 213 w 297"/>
                    <a:gd name="T55" fmla="*/ 235 h 319"/>
                    <a:gd name="T56" fmla="*/ 193 w 297"/>
                    <a:gd name="T57" fmla="*/ 194 h 319"/>
                    <a:gd name="T58" fmla="*/ 182 w 297"/>
                    <a:gd name="T59" fmla="*/ 178 h 319"/>
                    <a:gd name="T60" fmla="*/ 198 w 297"/>
                    <a:gd name="T61" fmla="*/ 162 h 319"/>
                    <a:gd name="T62" fmla="*/ 218 w 297"/>
                    <a:gd name="T63" fmla="*/ 156 h 319"/>
                    <a:gd name="T64" fmla="*/ 182 w 297"/>
                    <a:gd name="T65" fmla="*/ 131 h 319"/>
                    <a:gd name="T66" fmla="*/ 133 w 297"/>
                    <a:gd name="T67" fmla="*/ 95 h 319"/>
                    <a:gd name="T68" fmla="*/ 110 w 297"/>
                    <a:gd name="T69" fmla="*/ 87 h 319"/>
                    <a:gd name="T70" fmla="*/ 74 w 297"/>
                    <a:gd name="T71" fmla="*/ 52 h 3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297" h="319">
                      <a:moveTo>
                        <a:pt x="74" y="52"/>
                      </a:moveTo>
                      <a:lnTo>
                        <a:pt x="46" y="22"/>
                      </a:lnTo>
                      <a:lnTo>
                        <a:pt x="34" y="26"/>
                      </a:lnTo>
                      <a:lnTo>
                        <a:pt x="10" y="0"/>
                      </a:lnTo>
                      <a:lnTo>
                        <a:pt x="0" y="15"/>
                      </a:lnTo>
                      <a:lnTo>
                        <a:pt x="19" y="26"/>
                      </a:lnTo>
                      <a:lnTo>
                        <a:pt x="26" y="42"/>
                      </a:lnTo>
                      <a:lnTo>
                        <a:pt x="11" y="44"/>
                      </a:lnTo>
                      <a:lnTo>
                        <a:pt x="15" y="63"/>
                      </a:lnTo>
                      <a:lnTo>
                        <a:pt x="36" y="82"/>
                      </a:lnTo>
                      <a:lnTo>
                        <a:pt x="60" y="112"/>
                      </a:lnTo>
                      <a:lnTo>
                        <a:pt x="79" y="115"/>
                      </a:lnTo>
                      <a:lnTo>
                        <a:pt x="106" y="142"/>
                      </a:lnTo>
                      <a:lnTo>
                        <a:pt x="115" y="168"/>
                      </a:lnTo>
                      <a:lnTo>
                        <a:pt x="142" y="180"/>
                      </a:lnTo>
                      <a:lnTo>
                        <a:pt x="161" y="218"/>
                      </a:lnTo>
                      <a:lnTo>
                        <a:pt x="198" y="243"/>
                      </a:lnTo>
                      <a:lnTo>
                        <a:pt x="201" y="266"/>
                      </a:lnTo>
                      <a:lnTo>
                        <a:pt x="242" y="307"/>
                      </a:lnTo>
                      <a:lnTo>
                        <a:pt x="270" y="319"/>
                      </a:lnTo>
                      <a:lnTo>
                        <a:pt x="253" y="287"/>
                      </a:lnTo>
                      <a:lnTo>
                        <a:pt x="261" y="278"/>
                      </a:lnTo>
                      <a:lnTo>
                        <a:pt x="278" y="276"/>
                      </a:lnTo>
                      <a:lnTo>
                        <a:pt x="286" y="286"/>
                      </a:lnTo>
                      <a:lnTo>
                        <a:pt x="297" y="271"/>
                      </a:lnTo>
                      <a:lnTo>
                        <a:pt x="275" y="252"/>
                      </a:lnTo>
                      <a:lnTo>
                        <a:pt x="229" y="240"/>
                      </a:lnTo>
                      <a:lnTo>
                        <a:pt x="213" y="235"/>
                      </a:lnTo>
                      <a:lnTo>
                        <a:pt x="193" y="194"/>
                      </a:lnTo>
                      <a:lnTo>
                        <a:pt x="182" y="178"/>
                      </a:lnTo>
                      <a:lnTo>
                        <a:pt x="198" y="162"/>
                      </a:lnTo>
                      <a:lnTo>
                        <a:pt x="218" y="156"/>
                      </a:lnTo>
                      <a:lnTo>
                        <a:pt x="182" y="131"/>
                      </a:lnTo>
                      <a:lnTo>
                        <a:pt x="133" y="95"/>
                      </a:lnTo>
                      <a:lnTo>
                        <a:pt x="110" y="87"/>
                      </a:lnTo>
                      <a:lnTo>
                        <a:pt x="74" y="52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8" name="Freeform 87"/>
                <p:cNvSpPr>
                  <a:spLocks/>
                </p:cNvSpPr>
                <p:nvPr/>
              </p:nvSpPr>
              <p:spPr bwMode="gray">
                <a:xfrm>
                  <a:off x="3983038" y="3117850"/>
                  <a:ext cx="527050" cy="381000"/>
                </a:xfrm>
                <a:custGeom>
                  <a:avLst/>
                  <a:gdLst>
                    <a:gd name="T0" fmla="*/ 52 w 332"/>
                    <a:gd name="T1" fmla="*/ 240 h 240"/>
                    <a:gd name="T2" fmla="*/ 58 w 332"/>
                    <a:gd name="T3" fmla="*/ 169 h 240"/>
                    <a:gd name="T4" fmla="*/ 102 w 332"/>
                    <a:gd name="T5" fmla="*/ 128 h 240"/>
                    <a:gd name="T6" fmla="*/ 168 w 332"/>
                    <a:gd name="T7" fmla="*/ 73 h 240"/>
                    <a:gd name="T8" fmla="*/ 247 w 332"/>
                    <a:gd name="T9" fmla="*/ 49 h 240"/>
                    <a:gd name="T10" fmla="*/ 323 w 332"/>
                    <a:gd name="T11" fmla="*/ 33 h 240"/>
                    <a:gd name="T12" fmla="*/ 332 w 332"/>
                    <a:gd name="T13" fmla="*/ 3 h 240"/>
                    <a:gd name="T14" fmla="*/ 308 w 332"/>
                    <a:gd name="T15" fmla="*/ 0 h 240"/>
                    <a:gd name="T16" fmla="*/ 266 w 332"/>
                    <a:gd name="T17" fmla="*/ 16 h 240"/>
                    <a:gd name="T18" fmla="*/ 238 w 332"/>
                    <a:gd name="T19" fmla="*/ 8 h 240"/>
                    <a:gd name="T20" fmla="*/ 215 w 332"/>
                    <a:gd name="T21" fmla="*/ 5 h 240"/>
                    <a:gd name="T22" fmla="*/ 196 w 332"/>
                    <a:gd name="T23" fmla="*/ 21 h 240"/>
                    <a:gd name="T24" fmla="*/ 167 w 332"/>
                    <a:gd name="T25" fmla="*/ 19 h 240"/>
                    <a:gd name="T26" fmla="*/ 143 w 332"/>
                    <a:gd name="T27" fmla="*/ 32 h 240"/>
                    <a:gd name="T28" fmla="*/ 139 w 332"/>
                    <a:gd name="T29" fmla="*/ 47 h 240"/>
                    <a:gd name="T30" fmla="*/ 108 w 332"/>
                    <a:gd name="T31" fmla="*/ 69 h 240"/>
                    <a:gd name="T32" fmla="*/ 86 w 332"/>
                    <a:gd name="T33" fmla="*/ 71 h 240"/>
                    <a:gd name="T34" fmla="*/ 82 w 332"/>
                    <a:gd name="T35" fmla="*/ 88 h 240"/>
                    <a:gd name="T36" fmla="*/ 98 w 332"/>
                    <a:gd name="T37" fmla="*/ 112 h 240"/>
                    <a:gd name="T38" fmla="*/ 90 w 332"/>
                    <a:gd name="T39" fmla="*/ 113 h 240"/>
                    <a:gd name="T40" fmla="*/ 63 w 332"/>
                    <a:gd name="T41" fmla="*/ 99 h 240"/>
                    <a:gd name="T42" fmla="*/ 38 w 332"/>
                    <a:gd name="T43" fmla="*/ 112 h 240"/>
                    <a:gd name="T44" fmla="*/ 28 w 332"/>
                    <a:gd name="T45" fmla="*/ 133 h 240"/>
                    <a:gd name="T46" fmla="*/ 4 w 332"/>
                    <a:gd name="T47" fmla="*/ 131 h 240"/>
                    <a:gd name="T48" fmla="*/ 0 w 332"/>
                    <a:gd name="T49" fmla="*/ 167 h 240"/>
                    <a:gd name="T50" fmla="*/ 19 w 332"/>
                    <a:gd name="T51" fmla="*/ 180 h 240"/>
                    <a:gd name="T52" fmla="*/ 8 w 332"/>
                    <a:gd name="T53" fmla="*/ 220 h 240"/>
                    <a:gd name="T54" fmla="*/ 34 w 332"/>
                    <a:gd name="T55" fmla="*/ 240 h 240"/>
                    <a:gd name="T56" fmla="*/ 52 w 332"/>
                    <a:gd name="T57" fmla="*/ 240 h 2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332" h="240">
                      <a:moveTo>
                        <a:pt x="52" y="240"/>
                      </a:moveTo>
                      <a:lnTo>
                        <a:pt x="58" y="169"/>
                      </a:lnTo>
                      <a:lnTo>
                        <a:pt x="102" y="128"/>
                      </a:lnTo>
                      <a:lnTo>
                        <a:pt x="168" y="73"/>
                      </a:lnTo>
                      <a:lnTo>
                        <a:pt x="247" y="49"/>
                      </a:lnTo>
                      <a:lnTo>
                        <a:pt x="323" y="33"/>
                      </a:lnTo>
                      <a:lnTo>
                        <a:pt x="332" y="3"/>
                      </a:lnTo>
                      <a:lnTo>
                        <a:pt x="308" y="0"/>
                      </a:lnTo>
                      <a:lnTo>
                        <a:pt x="266" y="16"/>
                      </a:lnTo>
                      <a:lnTo>
                        <a:pt x="238" y="8"/>
                      </a:lnTo>
                      <a:lnTo>
                        <a:pt x="215" y="5"/>
                      </a:lnTo>
                      <a:lnTo>
                        <a:pt x="196" y="21"/>
                      </a:lnTo>
                      <a:lnTo>
                        <a:pt x="167" y="19"/>
                      </a:lnTo>
                      <a:lnTo>
                        <a:pt x="143" y="32"/>
                      </a:lnTo>
                      <a:lnTo>
                        <a:pt x="139" y="47"/>
                      </a:lnTo>
                      <a:lnTo>
                        <a:pt x="108" y="69"/>
                      </a:lnTo>
                      <a:lnTo>
                        <a:pt x="86" y="71"/>
                      </a:lnTo>
                      <a:lnTo>
                        <a:pt x="82" y="88"/>
                      </a:lnTo>
                      <a:lnTo>
                        <a:pt x="98" y="112"/>
                      </a:lnTo>
                      <a:lnTo>
                        <a:pt x="90" y="113"/>
                      </a:lnTo>
                      <a:lnTo>
                        <a:pt x="63" y="99"/>
                      </a:lnTo>
                      <a:lnTo>
                        <a:pt x="38" y="112"/>
                      </a:lnTo>
                      <a:lnTo>
                        <a:pt x="28" y="133"/>
                      </a:lnTo>
                      <a:lnTo>
                        <a:pt x="4" y="131"/>
                      </a:lnTo>
                      <a:lnTo>
                        <a:pt x="0" y="167"/>
                      </a:lnTo>
                      <a:lnTo>
                        <a:pt x="19" y="180"/>
                      </a:lnTo>
                      <a:lnTo>
                        <a:pt x="8" y="220"/>
                      </a:lnTo>
                      <a:lnTo>
                        <a:pt x="34" y="240"/>
                      </a:lnTo>
                      <a:lnTo>
                        <a:pt x="52" y="240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89" name="Freeform 88"/>
                <p:cNvSpPr>
                  <a:spLocks/>
                </p:cNvSpPr>
                <p:nvPr/>
              </p:nvSpPr>
              <p:spPr bwMode="gray">
                <a:xfrm>
                  <a:off x="4533900" y="2744788"/>
                  <a:ext cx="57150" cy="49213"/>
                </a:xfrm>
                <a:custGeom>
                  <a:avLst/>
                  <a:gdLst>
                    <a:gd name="T0" fmla="*/ 0 w 36"/>
                    <a:gd name="T1" fmla="*/ 16 h 31"/>
                    <a:gd name="T2" fmla="*/ 13 w 36"/>
                    <a:gd name="T3" fmla="*/ 10 h 31"/>
                    <a:gd name="T4" fmla="*/ 21 w 36"/>
                    <a:gd name="T5" fmla="*/ 0 h 31"/>
                    <a:gd name="T6" fmla="*/ 36 w 36"/>
                    <a:gd name="T7" fmla="*/ 15 h 31"/>
                    <a:gd name="T8" fmla="*/ 12 w 36"/>
                    <a:gd name="T9" fmla="*/ 31 h 31"/>
                    <a:gd name="T10" fmla="*/ 0 w 36"/>
                    <a:gd name="T11" fmla="*/ 16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6" h="31">
                      <a:moveTo>
                        <a:pt x="0" y="16"/>
                      </a:moveTo>
                      <a:lnTo>
                        <a:pt x="13" y="10"/>
                      </a:lnTo>
                      <a:lnTo>
                        <a:pt x="21" y="0"/>
                      </a:lnTo>
                      <a:lnTo>
                        <a:pt x="36" y="15"/>
                      </a:lnTo>
                      <a:lnTo>
                        <a:pt x="12" y="31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0" name="Freeform 89"/>
                <p:cNvSpPr>
                  <a:spLocks/>
                </p:cNvSpPr>
                <p:nvPr/>
              </p:nvSpPr>
              <p:spPr bwMode="gray">
                <a:xfrm>
                  <a:off x="4487863" y="2749550"/>
                  <a:ext cx="39687" cy="33338"/>
                </a:xfrm>
                <a:custGeom>
                  <a:avLst/>
                  <a:gdLst>
                    <a:gd name="T0" fmla="*/ 5 w 25"/>
                    <a:gd name="T1" fmla="*/ 0 h 21"/>
                    <a:gd name="T2" fmla="*/ 25 w 25"/>
                    <a:gd name="T3" fmla="*/ 3 h 21"/>
                    <a:gd name="T4" fmla="*/ 21 w 25"/>
                    <a:gd name="T5" fmla="*/ 21 h 21"/>
                    <a:gd name="T6" fmla="*/ 0 w 25"/>
                    <a:gd name="T7" fmla="*/ 19 h 21"/>
                    <a:gd name="T8" fmla="*/ 5 w 25"/>
                    <a:gd name="T9" fmla="*/ 0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5" h="21">
                      <a:moveTo>
                        <a:pt x="5" y="0"/>
                      </a:moveTo>
                      <a:lnTo>
                        <a:pt x="25" y="3"/>
                      </a:lnTo>
                      <a:lnTo>
                        <a:pt x="21" y="21"/>
                      </a:lnTo>
                      <a:lnTo>
                        <a:pt x="0" y="19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1" name="Freeform 90"/>
                <p:cNvSpPr>
                  <a:spLocks/>
                </p:cNvSpPr>
                <p:nvPr/>
              </p:nvSpPr>
              <p:spPr bwMode="gray">
                <a:xfrm>
                  <a:off x="4451350" y="2760663"/>
                  <a:ext cx="26987" cy="26988"/>
                </a:xfrm>
                <a:custGeom>
                  <a:avLst/>
                  <a:gdLst>
                    <a:gd name="T0" fmla="*/ 0 w 17"/>
                    <a:gd name="T1" fmla="*/ 6 h 17"/>
                    <a:gd name="T2" fmla="*/ 5 w 17"/>
                    <a:gd name="T3" fmla="*/ 17 h 17"/>
                    <a:gd name="T4" fmla="*/ 17 w 17"/>
                    <a:gd name="T5" fmla="*/ 13 h 17"/>
                    <a:gd name="T6" fmla="*/ 12 w 17"/>
                    <a:gd name="T7" fmla="*/ 0 h 17"/>
                    <a:gd name="T8" fmla="*/ 0 w 17"/>
                    <a:gd name="T9" fmla="*/ 6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7" h="17">
                      <a:moveTo>
                        <a:pt x="0" y="6"/>
                      </a:moveTo>
                      <a:lnTo>
                        <a:pt x="5" y="17"/>
                      </a:lnTo>
                      <a:lnTo>
                        <a:pt x="17" y="13"/>
                      </a:lnTo>
                      <a:lnTo>
                        <a:pt x="12" y="0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2" name="Freeform 91"/>
                <p:cNvSpPr>
                  <a:spLocks/>
                </p:cNvSpPr>
                <p:nvPr/>
              </p:nvSpPr>
              <p:spPr bwMode="gray">
                <a:xfrm>
                  <a:off x="4418013" y="2768600"/>
                  <a:ext cx="26987" cy="46038"/>
                </a:xfrm>
                <a:custGeom>
                  <a:avLst/>
                  <a:gdLst>
                    <a:gd name="T0" fmla="*/ 17 w 17"/>
                    <a:gd name="T1" fmla="*/ 7 h 29"/>
                    <a:gd name="T2" fmla="*/ 8 w 17"/>
                    <a:gd name="T3" fmla="*/ 0 h 29"/>
                    <a:gd name="T4" fmla="*/ 0 w 17"/>
                    <a:gd name="T5" fmla="*/ 8 h 29"/>
                    <a:gd name="T6" fmla="*/ 13 w 17"/>
                    <a:gd name="T7" fmla="*/ 29 h 29"/>
                    <a:gd name="T8" fmla="*/ 17 w 17"/>
                    <a:gd name="T9" fmla="*/ 7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7" h="29">
                      <a:moveTo>
                        <a:pt x="17" y="7"/>
                      </a:moveTo>
                      <a:lnTo>
                        <a:pt x="8" y="0"/>
                      </a:lnTo>
                      <a:lnTo>
                        <a:pt x="0" y="8"/>
                      </a:lnTo>
                      <a:lnTo>
                        <a:pt x="13" y="29"/>
                      </a:lnTo>
                      <a:lnTo>
                        <a:pt x="17" y="7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3" name="Freeform 92"/>
                <p:cNvSpPr>
                  <a:spLocks/>
                </p:cNvSpPr>
                <p:nvPr/>
              </p:nvSpPr>
              <p:spPr bwMode="gray">
                <a:xfrm>
                  <a:off x="4419600" y="2709863"/>
                  <a:ext cx="55562" cy="34925"/>
                </a:xfrm>
                <a:custGeom>
                  <a:avLst/>
                  <a:gdLst>
                    <a:gd name="T0" fmla="*/ 0 w 35"/>
                    <a:gd name="T1" fmla="*/ 8 h 22"/>
                    <a:gd name="T2" fmla="*/ 12 w 35"/>
                    <a:gd name="T3" fmla="*/ 0 h 22"/>
                    <a:gd name="T4" fmla="*/ 33 w 35"/>
                    <a:gd name="T5" fmla="*/ 2 h 22"/>
                    <a:gd name="T6" fmla="*/ 35 w 35"/>
                    <a:gd name="T7" fmla="*/ 17 h 22"/>
                    <a:gd name="T8" fmla="*/ 16 w 35"/>
                    <a:gd name="T9" fmla="*/ 22 h 22"/>
                    <a:gd name="T10" fmla="*/ 0 w 35"/>
                    <a:gd name="T11" fmla="*/ 8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5" h="22">
                      <a:moveTo>
                        <a:pt x="0" y="8"/>
                      </a:moveTo>
                      <a:lnTo>
                        <a:pt x="12" y="0"/>
                      </a:lnTo>
                      <a:lnTo>
                        <a:pt x="33" y="2"/>
                      </a:lnTo>
                      <a:lnTo>
                        <a:pt x="35" y="17"/>
                      </a:lnTo>
                      <a:lnTo>
                        <a:pt x="16" y="22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4" name="Freeform 93"/>
                <p:cNvSpPr>
                  <a:spLocks/>
                </p:cNvSpPr>
                <p:nvPr/>
              </p:nvSpPr>
              <p:spPr bwMode="gray">
                <a:xfrm>
                  <a:off x="4348163" y="2686050"/>
                  <a:ext cx="34925" cy="30163"/>
                </a:xfrm>
                <a:custGeom>
                  <a:avLst/>
                  <a:gdLst>
                    <a:gd name="T0" fmla="*/ 0 w 22"/>
                    <a:gd name="T1" fmla="*/ 1 h 19"/>
                    <a:gd name="T2" fmla="*/ 5 w 22"/>
                    <a:gd name="T3" fmla="*/ 19 h 19"/>
                    <a:gd name="T4" fmla="*/ 22 w 22"/>
                    <a:gd name="T5" fmla="*/ 13 h 19"/>
                    <a:gd name="T6" fmla="*/ 17 w 22"/>
                    <a:gd name="T7" fmla="*/ 0 h 19"/>
                    <a:gd name="T8" fmla="*/ 0 w 22"/>
                    <a:gd name="T9" fmla="*/ 1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2" h="19">
                      <a:moveTo>
                        <a:pt x="0" y="1"/>
                      </a:moveTo>
                      <a:lnTo>
                        <a:pt x="5" y="19"/>
                      </a:lnTo>
                      <a:lnTo>
                        <a:pt x="22" y="13"/>
                      </a:lnTo>
                      <a:lnTo>
                        <a:pt x="17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5" name="Freeform 94"/>
                <p:cNvSpPr>
                  <a:spLocks/>
                </p:cNvSpPr>
                <p:nvPr/>
              </p:nvSpPr>
              <p:spPr bwMode="gray">
                <a:xfrm>
                  <a:off x="4297363" y="2703513"/>
                  <a:ext cx="41275" cy="28575"/>
                </a:xfrm>
                <a:custGeom>
                  <a:avLst/>
                  <a:gdLst>
                    <a:gd name="T0" fmla="*/ 0 w 26"/>
                    <a:gd name="T1" fmla="*/ 0 h 18"/>
                    <a:gd name="T2" fmla="*/ 5 w 26"/>
                    <a:gd name="T3" fmla="*/ 18 h 18"/>
                    <a:gd name="T4" fmla="*/ 26 w 26"/>
                    <a:gd name="T5" fmla="*/ 6 h 18"/>
                    <a:gd name="T6" fmla="*/ 0 w 26"/>
                    <a:gd name="T7" fmla="*/ 0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6" h="18">
                      <a:moveTo>
                        <a:pt x="0" y="0"/>
                      </a:moveTo>
                      <a:lnTo>
                        <a:pt x="5" y="18"/>
                      </a:lnTo>
                      <a:lnTo>
                        <a:pt x="26" y="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6" name="Freeform 95"/>
                <p:cNvSpPr>
                  <a:spLocks/>
                </p:cNvSpPr>
                <p:nvPr/>
              </p:nvSpPr>
              <p:spPr bwMode="gray">
                <a:xfrm>
                  <a:off x="4294188" y="2655888"/>
                  <a:ext cx="44450" cy="31750"/>
                </a:xfrm>
                <a:custGeom>
                  <a:avLst/>
                  <a:gdLst>
                    <a:gd name="T0" fmla="*/ 0 w 28"/>
                    <a:gd name="T1" fmla="*/ 0 h 20"/>
                    <a:gd name="T2" fmla="*/ 26 w 28"/>
                    <a:gd name="T3" fmla="*/ 0 h 20"/>
                    <a:gd name="T4" fmla="*/ 28 w 28"/>
                    <a:gd name="T5" fmla="*/ 12 h 20"/>
                    <a:gd name="T6" fmla="*/ 4 w 28"/>
                    <a:gd name="T7" fmla="*/ 20 h 20"/>
                    <a:gd name="T8" fmla="*/ 0 w 28"/>
                    <a:gd name="T9" fmla="*/ 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8" h="20">
                      <a:moveTo>
                        <a:pt x="0" y="0"/>
                      </a:moveTo>
                      <a:lnTo>
                        <a:pt x="26" y="0"/>
                      </a:lnTo>
                      <a:lnTo>
                        <a:pt x="28" y="12"/>
                      </a:lnTo>
                      <a:lnTo>
                        <a:pt x="4" y="2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7" name="Freeform 96"/>
                <p:cNvSpPr>
                  <a:spLocks/>
                </p:cNvSpPr>
                <p:nvPr/>
              </p:nvSpPr>
              <p:spPr bwMode="gray">
                <a:xfrm>
                  <a:off x="3784600" y="3473450"/>
                  <a:ext cx="55562" cy="57150"/>
                </a:xfrm>
                <a:custGeom>
                  <a:avLst/>
                  <a:gdLst>
                    <a:gd name="T0" fmla="*/ 0 w 35"/>
                    <a:gd name="T1" fmla="*/ 28 h 36"/>
                    <a:gd name="T2" fmla="*/ 27 w 35"/>
                    <a:gd name="T3" fmla="*/ 36 h 36"/>
                    <a:gd name="T4" fmla="*/ 35 w 35"/>
                    <a:gd name="T5" fmla="*/ 20 h 36"/>
                    <a:gd name="T6" fmla="*/ 16 w 35"/>
                    <a:gd name="T7" fmla="*/ 0 h 36"/>
                    <a:gd name="T8" fmla="*/ 4 w 35"/>
                    <a:gd name="T9" fmla="*/ 4 h 36"/>
                    <a:gd name="T10" fmla="*/ 0 w 35"/>
                    <a:gd name="T11" fmla="*/ 28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5" h="36">
                      <a:moveTo>
                        <a:pt x="0" y="28"/>
                      </a:moveTo>
                      <a:lnTo>
                        <a:pt x="27" y="36"/>
                      </a:lnTo>
                      <a:lnTo>
                        <a:pt x="35" y="20"/>
                      </a:lnTo>
                      <a:lnTo>
                        <a:pt x="16" y="0"/>
                      </a:lnTo>
                      <a:lnTo>
                        <a:pt x="4" y="4"/>
                      </a:lnTo>
                      <a:lnTo>
                        <a:pt x="0" y="28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8" name="Freeform 97"/>
                <p:cNvSpPr>
                  <a:spLocks/>
                </p:cNvSpPr>
                <p:nvPr/>
              </p:nvSpPr>
              <p:spPr bwMode="gray">
                <a:xfrm>
                  <a:off x="7343775" y="3284538"/>
                  <a:ext cx="357187" cy="536575"/>
                </a:xfrm>
                <a:custGeom>
                  <a:avLst/>
                  <a:gdLst>
                    <a:gd name="T0" fmla="*/ 41 w 225"/>
                    <a:gd name="T1" fmla="*/ 0 h 338"/>
                    <a:gd name="T2" fmla="*/ 60 w 225"/>
                    <a:gd name="T3" fmla="*/ 22 h 338"/>
                    <a:gd name="T4" fmla="*/ 68 w 225"/>
                    <a:gd name="T5" fmla="*/ 30 h 338"/>
                    <a:gd name="T6" fmla="*/ 92 w 225"/>
                    <a:gd name="T7" fmla="*/ 24 h 338"/>
                    <a:gd name="T8" fmla="*/ 107 w 225"/>
                    <a:gd name="T9" fmla="*/ 46 h 338"/>
                    <a:gd name="T10" fmla="*/ 89 w 225"/>
                    <a:gd name="T11" fmla="*/ 51 h 338"/>
                    <a:gd name="T12" fmla="*/ 109 w 225"/>
                    <a:gd name="T13" fmla="*/ 87 h 338"/>
                    <a:gd name="T14" fmla="*/ 160 w 225"/>
                    <a:gd name="T15" fmla="*/ 114 h 338"/>
                    <a:gd name="T16" fmla="*/ 139 w 225"/>
                    <a:gd name="T17" fmla="*/ 139 h 338"/>
                    <a:gd name="T18" fmla="*/ 157 w 225"/>
                    <a:gd name="T19" fmla="*/ 178 h 338"/>
                    <a:gd name="T20" fmla="*/ 187 w 225"/>
                    <a:gd name="T21" fmla="*/ 196 h 338"/>
                    <a:gd name="T22" fmla="*/ 177 w 225"/>
                    <a:gd name="T23" fmla="*/ 228 h 338"/>
                    <a:gd name="T24" fmla="*/ 207 w 225"/>
                    <a:gd name="T25" fmla="*/ 272 h 338"/>
                    <a:gd name="T26" fmla="*/ 225 w 225"/>
                    <a:gd name="T27" fmla="*/ 338 h 338"/>
                    <a:gd name="T28" fmla="*/ 207 w 225"/>
                    <a:gd name="T29" fmla="*/ 338 h 338"/>
                    <a:gd name="T30" fmla="*/ 169 w 225"/>
                    <a:gd name="T31" fmla="*/ 311 h 338"/>
                    <a:gd name="T32" fmla="*/ 29 w 225"/>
                    <a:gd name="T33" fmla="*/ 248 h 338"/>
                    <a:gd name="T34" fmla="*/ 15 w 225"/>
                    <a:gd name="T35" fmla="*/ 223 h 338"/>
                    <a:gd name="T36" fmla="*/ 39 w 225"/>
                    <a:gd name="T37" fmla="*/ 192 h 338"/>
                    <a:gd name="T38" fmla="*/ 36 w 225"/>
                    <a:gd name="T39" fmla="*/ 166 h 338"/>
                    <a:gd name="T40" fmla="*/ 3 w 225"/>
                    <a:gd name="T41" fmla="*/ 166 h 338"/>
                    <a:gd name="T42" fmla="*/ 0 w 225"/>
                    <a:gd name="T43" fmla="*/ 138 h 338"/>
                    <a:gd name="T44" fmla="*/ 21 w 225"/>
                    <a:gd name="T45" fmla="*/ 132 h 338"/>
                    <a:gd name="T46" fmla="*/ 29 w 225"/>
                    <a:gd name="T47" fmla="*/ 114 h 338"/>
                    <a:gd name="T48" fmla="*/ 8 w 225"/>
                    <a:gd name="T49" fmla="*/ 68 h 338"/>
                    <a:gd name="T50" fmla="*/ 51 w 225"/>
                    <a:gd name="T51" fmla="*/ 14 h 338"/>
                    <a:gd name="T52" fmla="*/ 41 w 225"/>
                    <a:gd name="T53" fmla="*/ 0 h 3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225" h="338">
                      <a:moveTo>
                        <a:pt x="41" y="0"/>
                      </a:moveTo>
                      <a:lnTo>
                        <a:pt x="60" y="22"/>
                      </a:lnTo>
                      <a:lnTo>
                        <a:pt x="68" y="30"/>
                      </a:lnTo>
                      <a:lnTo>
                        <a:pt x="92" y="24"/>
                      </a:lnTo>
                      <a:lnTo>
                        <a:pt x="107" y="46"/>
                      </a:lnTo>
                      <a:lnTo>
                        <a:pt x="89" y="51"/>
                      </a:lnTo>
                      <a:lnTo>
                        <a:pt x="109" y="87"/>
                      </a:lnTo>
                      <a:lnTo>
                        <a:pt x="160" y="114"/>
                      </a:lnTo>
                      <a:lnTo>
                        <a:pt x="139" y="139"/>
                      </a:lnTo>
                      <a:lnTo>
                        <a:pt x="157" y="178"/>
                      </a:lnTo>
                      <a:lnTo>
                        <a:pt x="187" y="196"/>
                      </a:lnTo>
                      <a:lnTo>
                        <a:pt x="177" y="228"/>
                      </a:lnTo>
                      <a:lnTo>
                        <a:pt x="207" y="272"/>
                      </a:lnTo>
                      <a:lnTo>
                        <a:pt x="225" y="338"/>
                      </a:lnTo>
                      <a:lnTo>
                        <a:pt x="207" y="338"/>
                      </a:lnTo>
                      <a:lnTo>
                        <a:pt x="169" y="311"/>
                      </a:lnTo>
                      <a:lnTo>
                        <a:pt x="29" y="248"/>
                      </a:lnTo>
                      <a:lnTo>
                        <a:pt x="15" y="223"/>
                      </a:lnTo>
                      <a:lnTo>
                        <a:pt x="39" y="192"/>
                      </a:lnTo>
                      <a:lnTo>
                        <a:pt x="36" y="166"/>
                      </a:lnTo>
                      <a:lnTo>
                        <a:pt x="3" y="166"/>
                      </a:lnTo>
                      <a:lnTo>
                        <a:pt x="0" y="138"/>
                      </a:lnTo>
                      <a:lnTo>
                        <a:pt x="21" y="132"/>
                      </a:lnTo>
                      <a:lnTo>
                        <a:pt x="29" y="114"/>
                      </a:lnTo>
                      <a:lnTo>
                        <a:pt x="8" y="68"/>
                      </a:lnTo>
                      <a:lnTo>
                        <a:pt x="51" y="14"/>
                      </a:lnTo>
                      <a:lnTo>
                        <a:pt x="41" y="0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99" name="Freeform 98"/>
                <p:cNvSpPr>
                  <a:spLocks/>
                </p:cNvSpPr>
                <p:nvPr/>
              </p:nvSpPr>
              <p:spPr bwMode="gray">
                <a:xfrm>
                  <a:off x="7720013" y="3960813"/>
                  <a:ext cx="28575" cy="33338"/>
                </a:xfrm>
                <a:custGeom>
                  <a:avLst/>
                  <a:gdLst>
                    <a:gd name="T0" fmla="*/ 0 w 18"/>
                    <a:gd name="T1" fmla="*/ 0 h 21"/>
                    <a:gd name="T2" fmla="*/ 7 w 18"/>
                    <a:gd name="T3" fmla="*/ 21 h 21"/>
                    <a:gd name="T4" fmla="*/ 18 w 18"/>
                    <a:gd name="T5" fmla="*/ 2 h 21"/>
                    <a:gd name="T6" fmla="*/ 0 w 18"/>
                    <a:gd name="T7" fmla="*/ 0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8" h="21">
                      <a:moveTo>
                        <a:pt x="0" y="0"/>
                      </a:moveTo>
                      <a:lnTo>
                        <a:pt x="7" y="21"/>
                      </a:lnTo>
                      <a:lnTo>
                        <a:pt x="18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0" name="Freeform 99"/>
                <p:cNvSpPr>
                  <a:spLocks/>
                </p:cNvSpPr>
                <p:nvPr/>
              </p:nvSpPr>
              <p:spPr bwMode="gray">
                <a:xfrm>
                  <a:off x="7700963" y="3871913"/>
                  <a:ext cx="28575" cy="71438"/>
                </a:xfrm>
                <a:custGeom>
                  <a:avLst/>
                  <a:gdLst>
                    <a:gd name="T0" fmla="*/ 0 w 18"/>
                    <a:gd name="T1" fmla="*/ 9 h 45"/>
                    <a:gd name="T2" fmla="*/ 18 w 18"/>
                    <a:gd name="T3" fmla="*/ 0 h 45"/>
                    <a:gd name="T4" fmla="*/ 16 w 18"/>
                    <a:gd name="T5" fmla="*/ 45 h 45"/>
                    <a:gd name="T6" fmla="*/ 0 w 18"/>
                    <a:gd name="T7" fmla="*/ 9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8" h="45">
                      <a:moveTo>
                        <a:pt x="0" y="9"/>
                      </a:moveTo>
                      <a:lnTo>
                        <a:pt x="18" y="0"/>
                      </a:lnTo>
                      <a:lnTo>
                        <a:pt x="16" y="45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1" name="Freeform 100"/>
                <p:cNvSpPr>
                  <a:spLocks/>
                </p:cNvSpPr>
                <p:nvPr/>
              </p:nvSpPr>
              <p:spPr bwMode="gray">
                <a:xfrm>
                  <a:off x="7678738" y="3843338"/>
                  <a:ext cx="41275" cy="28575"/>
                </a:xfrm>
                <a:custGeom>
                  <a:avLst/>
                  <a:gdLst>
                    <a:gd name="T0" fmla="*/ 10 w 26"/>
                    <a:gd name="T1" fmla="*/ 18 h 18"/>
                    <a:gd name="T2" fmla="*/ 26 w 26"/>
                    <a:gd name="T3" fmla="*/ 6 h 18"/>
                    <a:gd name="T4" fmla="*/ 0 w 26"/>
                    <a:gd name="T5" fmla="*/ 0 h 18"/>
                    <a:gd name="T6" fmla="*/ 10 w 26"/>
                    <a:gd name="T7" fmla="*/ 18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6" h="18">
                      <a:moveTo>
                        <a:pt x="10" y="18"/>
                      </a:moveTo>
                      <a:lnTo>
                        <a:pt x="26" y="6"/>
                      </a:lnTo>
                      <a:lnTo>
                        <a:pt x="0" y="0"/>
                      </a:lnTo>
                      <a:lnTo>
                        <a:pt x="10" y="18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2" name="Freeform 101"/>
                <p:cNvSpPr>
                  <a:spLocks/>
                </p:cNvSpPr>
                <p:nvPr/>
              </p:nvSpPr>
              <p:spPr bwMode="gray">
                <a:xfrm>
                  <a:off x="7629525" y="3265488"/>
                  <a:ext cx="61912" cy="30163"/>
                </a:xfrm>
                <a:custGeom>
                  <a:avLst/>
                  <a:gdLst>
                    <a:gd name="T0" fmla="*/ 0 w 39"/>
                    <a:gd name="T1" fmla="*/ 10 h 19"/>
                    <a:gd name="T2" fmla="*/ 21 w 39"/>
                    <a:gd name="T3" fmla="*/ 0 h 19"/>
                    <a:gd name="T4" fmla="*/ 39 w 39"/>
                    <a:gd name="T5" fmla="*/ 12 h 19"/>
                    <a:gd name="T6" fmla="*/ 16 w 39"/>
                    <a:gd name="T7" fmla="*/ 19 h 19"/>
                    <a:gd name="T8" fmla="*/ 0 w 39"/>
                    <a:gd name="T9" fmla="*/ 1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9" h="19">
                      <a:moveTo>
                        <a:pt x="0" y="10"/>
                      </a:moveTo>
                      <a:lnTo>
                        <a:pt x="21" y="0"/>
                      </a:lnTo>
                      <a:lnTo>
                        <a:pt x="39" y="12"/>
                      </a:lnTo>
                      <a:lnTo>
                        <a:pt x="16" y="19"/>
                      </a:lnTo>
                      <a:lnTo>
                        <a:pt x="0" y="10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3" name="Freeform 102"/>
                <p:cNvSpPr>
                  <a:spLocks/>
                </p:cNvSpPr>
                <p:nvPr/>
              </p:nvSpPr>
              <p:spPr bwMode="gray">
                <a:xfrm>
                  <a:off x="7335838" y="3176588"/>
                  <a:ext cx="41275" cy="88900"/>
                </a:xfrm>
                <a:custGeom>
                  <a:avLst/>
                  <a:gdLst>
                    <a:gd name="T0" fmla="*/ 24 w 26"/>
                    <a:gd name="T1" fmla="*/ 34 h 56"/>
                    <a:gd name="T2" fmla="*/ 26 w 26"/>
                    <a:gd name="T3" fmla="*/ 10 h 56"/>
                    <a:gd name="T4" fmla="*/ 12 w 26"/>
                    <a:gd name="T5" fmla="*/ 0 h 56"/>
                    <a:gd name="T6" fmla="*/ 0 w 26"/>
                    <a:gd name="T7" fmla="*/ 24 h 56"/>
                    <a:gd name="T8" fmla="*/ 24 w 26"/>
                    <a:gd name="T9" fmla="*/ 56 h 56"/>
                    <a:gd name="T10" fmla="*/ 24 w 26"/>
                    <a:gd name="T11" fmla="*/ 34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6" h="56">
                      <a:moveTo>
                        <a:pt x="24" y="34"/>
                      </a:moveTo>
                      <a:lnTo>
                        <a:pt x="26" y="10"/>
                      </a:lnTo>
                      <a:lnTo>
                        <a:pt x="12" y="0"/>
                      </a:lnTo>
                      <a:lnTo>
                        <a:pt x="0" y="24"/>
                      </a:lnTo>
                      <a:lnTo>
                        <a:pt x="24" y="56"/>
                      </a:lnTo>
                      <a:lnTo>
                        <a:pt x="24" y="34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4" name="Freeform 103"/>
                <p:cNvSpPr>
                  <a:spLocks/>
                </p:cNvSpPr>
                <p:nvPr/>
              </p:nvSpPr>
              <p:spPr bwMode="gray">
                <a:xfrm>
                  <a:off x="7724775" y="4557713"/>
                  <a:ext cx="26987" cy="66675"/>
                </a:xfrm>
                <a:custGeom>
                  <a:avLst/>
                  <a:gdLst>
                    <a:gd name="T0" fmla="*/ 12 w 17"/>
                    <a:gd name="T1" fmla="*/ 42 h 42"/>
                    <a:gd name="T2" fmla="*/ 17 w 17"/>
                    <a:gd name="T3" fmla="*/ 20 h 42"/>
                    <a:gd name="T4" fmla="*/ 13 w 17"/>
                    <a:gd name="T5" fmla="*/ 0 h 42"/>
                    <a:gd name="T6" fmla="*/ 0 w 17"/>
                    <a:gd name="T7" fmla="*/ 5 h 42"/>
                    <a:gd name="T8" fmla="*/ 1 w 17"/>
                    <a:gd name="T9" fmla="*/ 22 h 42"/>
                    <a:gd name="T10" fmla="*/ 4 w 17"/>
                    <a:gd name="T11" fmla="*/ 40 h 42"/>
                    <a:gd name="T12" fmla="*/ 12 w 17"/>
                    <a:gd name="T13" fmla="*/ 42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7" h="42">
                      <a:moveTo>
                        <a:pt x="12" y="42"/>
                      </a:moveTo>
                      <a:lnTo>
                        <a:pt x="17" y="20"/>
                      </a:lnTo>
                      <a:lnTo>
                        <a:pt x="13" y="0"/>
                      </a:lnTo>
                      <a:lnTo>
                        <a:pt x="0" y="5"/>
                      </a:lnTo>
                      <a:lnTo>
                        <a:pt x="1" y="22"/>
                      </a:lnTo>
                      <a:lnTo>
                        <a:pt x="4" y="40"/>
                      </a:lnTo>
                      <a:lnTo>
                        <a:pt x="12" y="42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5" name="Freeform 104"/>
                <p:cNvSpPr>
                  <a:spLocks/>
                </p:cNvSpPr>
                <p:nvPr/>
              </p:nvSpPr>
              <p:spPr bwMode="gray">
                <a:xfrm>
                  <a:off x="7731125" y="4414838"/>
                  <a:ext cx="46037" cy="138113"/>
                </a:xfrm>
                <a:custGeom>
                  <a:avLst/>
                  <a:gdLst>
                    <a:gd name="T0" fmla="*/ 16 w 29"/>
                    <a:gd name="T1" fmla="*/ 19 h 87"/>
                    <a:gd name="T2" fmla="*/ 23 w 29"/>
                    <a:gd name="T3" fmla="*/ 0 h 87"/>
                    <a:gd name="T4" fmla="*/ 27 w 29"/>
                    <a:gd name="T5" fmla="*/ 0 h 87"/>
                    <a:gd name="T6" fmla="*/ 29 w 29"/>
                    <a:gd name="T7" fmla="*/ 23 h 87"/>
                    <a:gd name="T8" fmla="*/ 24 w 29"/>
                    <a:gd name="T9" fmla="*/ 36 h 87"/>
                    <a:gd name="T10" fmla="*/ 25 w 29"/>
                    <a:gd name="T11" fmla="*/ 71 h 87"/>
                    <a:gd name="T12" fmla="*/ 16 w 29"/>
                    <a:gd name="T13" fmla="*/ 87 h 87"/>
                    <a:gd name="T14" fmla="*/ 12 w 29"/>
                    <a:gd name="T15" fmla="*/ 59 h 87"/>
                    <a:gd name="T16" fmla="*/ 1 w 29"/>
                    <a:gd name="T17" fmla="*/ 42 h 87"/>
                    <a:gd name="T18" fmla="*/ 0 w 29"/>
                    <a:gd name="T19" fmla="*/ 23 h 87"/>
                    <a:gd name="T20" fmla="*/ 12 w 29"/>
                    <a:gd name="T21" fmla="*/ 15 h 87"/>
                    <a:gd name="T22" fmla="*/ 16 w 29"/>
                    <a:gd name="T23" fmla="*/ 19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9" h="87">
                      <a:moveTo>
                        <a:pt x="16" y="19"/>
                      </a:moveTo>
                      <a:lnTo>
                        <a:pt x="23" y="0"/>
                      </a:lnTo>
                      <a:lnTo>
                        <a:pt x="27" y="0"/>
                      </a:lnTo>
                      <a:lnTo>
                        <a:pt x="29" y="23"/>
                      </a:lnTo>
                      <a:lnTo>
                        <a:pt x="24" y="36"/>
                      </a:lnTo>
                      <a:lnTo>
                        <a:pt x="25" y="71"/>
                      </a:lnTo>
                      <a:lnTo>
                        <a:pt x="16" y="87"/>
                      </a:lnTo>
                      <a:lnTo>
                        <a:pt x="12" y="59"/>
                      </a:lnTo>
                      <a:lnTo>
                        <a:pt x="1" y="42"/>
                      </a:lnTo>
                      <a:lnTo>
                        <a:pt x="0" y="23"/>
                      </a:lnTo>
                      <a:lnTo>
                        <a:pt x="12" y="15"/>
                      </a:lnTo>
                      <a:lnTo>
                        <a:pt x="16" y="19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6" name="Freeform 105"/>
                <p:cNvSpPr>
                  <a:spLocks/>
                </p:cNvSpPr>
                <p:nvPr/>
              </p:nvSpPr>
              <p:spPr bwMode="gray">
                <a:xfrm>
                  <a:off x="7775575" y="4306888"/>
                  <a:ext cx="30162" cy="69850"/>
                </a:xfrm>
                <a:custGeom>
                  <a:avLst/>
                  <a:gdLst>
                    <a:gd name="T0" fmla="*/ 1 w 19"/>
                    <a:gd name="T1" fmla="*/ 38 h 44"/>
                    <a:gd name="T2" fmla="*/ 12 w 19"/>
                    <a:gd name="T3" fmla="*/ 44 h 44"/>
                    <a:gd name="T4" fmla="*/ 19 w 19"/>
                    <a:gd name="T5" fmla="*/ 27 h 44"/>
                    <a:gd name="T6" fmla="*/ 9 w 19"/>
                    <a:gd name="T7" fmla="*/ 0 h 44"/>
                    <a:gd name="T8" fmla="*/ 0 w 19"/>
                    <a:gd name="T9" fmla="*/ 7 h 44"/>
                    <a:gd name="T10" fmla="*/ 1 w 19"/>
                    <a:gd name="T11" fmla="*/ 38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9" h="44">
                      <a:moveTo>
                        <a:pt x="1" y="38"/>
                      </a:moveTo>
                      <a:lnTo>
                        <a:pt x="12" y="44"/>
                      </a:lnTo>
                      <a:lnTo>
                        <a:pt x="19" y="27"/>
                      </a:lnTo>
                      <a:lnTo>
                        <a:pt x="9" y="0"/>
                      </a:lnTo>
                      <a:lnTo>
                        <a:pt x="0" y="7"/>
                      </a:lnTo>
                      <a:lnTo>
                        <a:pt x="1" y="38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7" name="Freeform 106"/>
                <p:cNvSpPr>
                  <a:spLocks/>
                </p:cNvSpPr>
                <p:nvPr/>
              </p:nvSpPr>
              <p:spPr bwMode="gray">
                <a:xfrm>
                  <a:off x="6635750" y="3028950"/>
                  <a:ext cx="520700" cy="715963"/>
                </a:xfrm>
                <a:custGeom>
                  <a:avLst/>
                  <a:gdLst>
                    <a:gd name="T0" fmla="*/ 195 w 328"/>
                    <a:gd name="T1" fmla="*/ 0 h 451"/>
                    <a:gd name="T2" fmla="*/ 214 w 328"/>
                    <a:gd name="T3" fmla="*/ 5 h 451"/>
                    <a:gd name="T4" fmla="*/ 216 w 328"/>
                    <a:gd name="T5" fmla="*/ 20 h 451"/>
                    <a:gd name="T6" fmla="*/ 231 w 328"/>
                    <a:gd name="T7" fmla="*/ 23 h 451"/>
                    <a:gd name="T8" fmla="*/ 248 w 328"/>
                    <a:gd name="T9" fmla="*/ 43 h 451"/>
                    <a:gd name="T10" fmla="*/ 266 w 328"/>
                    <a:gd name="T11" fmla="*/ 57 h 451"/>
                    <a:gd name="T12" fmla="*/ 287 w 328"/>
                    <a:gd name="T13" fmla="*/ 56 h 451"/>
                    <a:gd name="T14" fmla="*/ 316 w 328"/>
                    <a:gd name="T15" fmla="*/ 81 h 451"/>
                    <a:gd name="T16" fmla="*/ 328 w 328"/>
                    <a:gd name="T17" fmla="*/ 153 h 451"/>
                    <a:gd name="T18" fmla="*/ 304 w 328"/>
                    <a:gd name="T19" fmla="*/ 149 h 451"/>
                    <a:gd name="T20" fmla="*/ 278 w 328"/>
                    <a:gd name="T21" fmla="*/ 115 h 451"/>
                    <a:gd name="T22" fmla="*/ 278 w 328"/>
                    <a:gd name="T23" fmla="*/ 139 h 451"/>
                    <a:gd name="T24" fmla="*/ 246 w 328"/>
                    <a:gd name="T25" fmla="*/ 173 h 451"/>
                    <a:gd name="T26" fmla="*/ 256 w 328"/>
                    <a:gd name="T27" fmla="*/ 227 h 451"/>
                    <a:gd name="T28" fmla="*/ 280 w 328"/>
                    <a:gd name="T29" fmla="*/ 292 h 451"/>
                    <a:gd name="T30" fmla="*/ 314 w 328"/>
                    <a:gd name="T31" fmla="*/ 300 h 451"/>
                    <a:gd name="T32" fmla="*/ 304 w 328"/>
                    <a:gd name="T33" fmla="*/ 321 h 451"/>
                    <a:gd name="T34" fmla="*/ 283 w 328"/>
                    <a:gd name="T35" fmla="*/ 327 h 451"/>
                    <a:gd name="T36" fmla="*/ 292 w 328"/>
                    <a:gd name="T37" fmla="*/ 357 h 451"/>
                    <a:gd name="T38" fmla="*/ 260 w 328"/>
                    <a:gd name="T39" fmla="*/ 387 h 451"/>
                    <a:gd name="T40" fmla="*/ 263 w 328"/>
                    <a:gd name="T41" fmla="*/ 353 h 451"/>
                    <a:gd name="T42" fmla="*/ 230 w 328"/>
                    <a:gd name="T43" fmla="*/ 372 h 451"/>
                    <a:gd name="T44" fmla="*/ 204 w 328"/>
                    <a:gd name="T45" fmla="*/ 404 h 451"/>
                    <a:gd name="T46" fmla="*/ 219 w 328"/>
                    <a:gd name="T47" fmla="*/ 421 h 451"/>
                    <a:gd name="T48" fmla="*/ 195 w 328"/>
                    <a:gd name="T49" fmla="*/ 428 h 451"/>
                    <a:gd name="T50" fmla="*/ 178 w 328"/>
                    <a:gd name="T51" fmla="*/ 451 h 451"/>
                    <a:gd name="T52" fmla="*/ 174 w 328"/>
                    <a:gd name="T53" fmla="*/ 431 h 451"/>
                    <a:gd name="T54" fmla="*/ 142 w 328"/>
                    <a:gd name="T55" fmla="*/ 428 h 451"/>
                    <a:gd name="T56" fmla="*/ 120 w 328"/>
                    <a:gd name="T57" fmla="*/ 443 h 451"/>
                    <a:gd name="T58" fmla="*/ 115 w 328"/>
                    <a:gd name="T59" fmla="*/ 395 h 451"/>
                    <a:gd name="T60" fmla="*/ 76 w 328"/>
                    <a:gd name="T61" fmla="*/ 372 h 451"/>
                    <a:gd name="T62" fmla="*/ 48 w 328"/>
                    <a:gd name="T63" fmla="*/ 396 h 451"/>
                    <a:gd name="T64" fmla="*/ 44 w 328"/>
                    <a:gd name="T65" fmla="*/ 375 h 451"/>
                    <a:gd name="T66" fmla="*/ 3 w 328"/>
                    <a:gd name="T67" fmla="*/ 321 h 451"/>
                    <a:gd name="T68" fmla="*/ 0 w 328"/>
                    <a:gd name="T69" fmla="*/ 297 h 451"/>
                    <a:gd name="T70" fmla="*/ 27 w 328"/>
                    <a:gd name="T71" fmla="*/ 275 h 451"/>
                    <a:gd name="T72" fmla="*/ 11 w 328"/>
                    <a:gd name="T73" fmla="*/ 251 h 451"/>
                    <a:gd name="T74" fmla="*/ 44 w 328"/>
                    <a:gd name="T75" fmla="*/ 229 h 451"/>
                    <a:gd name="T76" fmla="*/ 62 w 328"/>
                    <a:gd name="T77" fmla="*/ 227 h 451"/>
                    <a:gd name="T78" fmla="*/ 79 w 328"/>
                    <a:gd name="T79" fmla="*/ 180 h 451"/>
                    <a:gd name="T80" fmla="*/ 59 w 328"/>
                    <a:gd name="T81" fmla="*/ 168 h 451"/>
                    <a:gd name="T82" fmla="*/ 62 w 328"/>
                    <a:gd name="T83" fmla="*/ 144 h 451"/>
                    <a:gd name="T84" fmla="*/ 44 w 328"/>
                    <a:gd name="T85" fmla="*/ 132 h 451"/>
                    <a:gd name="T86" fmla="*/ 42 w 328"/>
                    <a:gd name="T87" fmla="*/ 97 h 451"/>
                    <a:gd name="T88" fmla="*/ 68 w 328"/>
                    <a:gd name="T89" fmla="*/ 64 h 451"/>
                    <a:gd name="T90" fmla="*/ 74 w 328"/>
                    <a:gd name="T91" fmla="*/ 28 h 451"/>
                    <a:gd name="T92" fmla="*/ 115 w 328"/>
                    <a:gd name="T93" fmla="*/ 40 h 451"/>
                    <a:gd name="T94" fmla="*/ 135 w 328"/>
                    <a:gd name="T95" fmla="*/ 29 h 451"/>
                    <a:gd name="T96" fmla="*/ 178 w 328"/>
                    <a:gd name="T97" fmla="*/ 17 h 451"/>
                    <a:gd name="T98" fmla="*/ 195 w 328"/>
                    <a:gd name="T99" fmla="*/ 0 h 4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328" h="451">
                      <a:moveTo>
                        <a:pt x="195" y="0"/>
                      </a:moveTo>
                      <a:lnTo>
                        <a:pt x="214" y="5"/>
                      </a:lnTo>
                      <a:lnTo>
                        <a:pt x="216" y="20"/>
                      </a:lnTo>
                      <a:lnTo>
                        <a:pt x="231" y="23"/>
                      </a:lnTo>
                      <a:lnTo>
                        <a:pt x="248" y="43"/>
                      </a:lnTo>
                      <a:lnTo>
                        <a:pt x="266" y="57"/>
                      </a:lnTo>
                      <a:lnTo>
                        <a:pt x="287" y="56"/>
                      </a:lnTo>
                      <a:lnTo>
                        <a:pt x="316" y="81"/>
                      </a:lnTo>
                      <a:lnTo>
                        <a:pt x="328" y="153"/>
                      </a:lnTo>
                      <a:lnTo>
                        <a:pt x="304" y="149"/>
                      </a:lnTo>
                      <a:lnTo>
                        <a:pt x="278" y="115"/>
                      </a:lnTo>
                      <a:lnTo>
                        <a:pt x="278" y="139"/>
                      </a:lnTo>
                      <a:lnTo>
                        <a:pt x="246" y="173"/>
                      </a:lnTo>
                      <a:lnTo>
                        <a:pt x="256" y="227"/>
                      </a:lnTo>
                      <a:lnTo>
                        <a:pt x="280" y="292"/>
                      </a:lnTo>
                      <a:lnTo>
                        <a:pt x="314" y="300"/>
                      </a:lnTo>
                      <a:lnTo>
                        <a:pt x="304" y="321"/>
                      </a:lnTo>
                      <a:lnTo>
                        <a:pt x="283" y="327"/>
                      </a:lnTo>
                      <a:lnTo>
                        <a:pt x="292" y="357"/>
                      </a:lnTo>
                      <a:lnTo>
                        <a:pt x="260" y="387"/>
                      </a:lnTo>
                      <a:lnTo>
                        <a:pt x="263" y="353"/>
                      </a:lnTo>
                      <a:lnTo>
                        <a:pt x="230" y="372"/>
                      </a:lnTo>
                      <a:lnTo>
                        <a:pt x="204" y="404"/>
                      </a:lnTo>
                      <a:lnTo>
                        <a:pt x="219" y="421"/>
                      </a:lnTo>
                      <a:lnTo>
                        <a:pt x="195" y="428"/>
                      </a:lnTo>
                      <a:lnTo>
                        <a:pt x="178" y="451"/>
                      </a:lnTo>
                      <a:lnTo>
                        <a:pt x="174" y="431"/>
                      </a:lnTo>
                      <a:lnTo>
                        <a:pt x="142" y="428"/>
                      </a:lnTo>
                      <a:lnTo>
                        <a:pt x="120" y="443"/>
                      </a:lnTo>
                      <a:lnTo>
                        <a:pt x="115" y="395"/>
                      </a:lnTo>
                      <a:lnTo>
                        <a:pt x="76" y="372"/>
                      </a:lnTo>
                      <a:lnTo>
                        <a:pt x="48" y="396"/>
                      </a:lnTo>
                      <a:lnTo>
                        <a:pt x="44" y="375"/>
                      </a:lnTo>
                      <a:lnTo>
                        <a:pt x="3" y="321"/>
                      </a:lnTo>
                      <a:lnTo>
                        <a:pt x="0" y="297"/>
                      </a:lnTo>
                      <a:lnTo>
                        <a:pt x="27" y="275"/>
                      </a:lnTo>
                      <a:lnTo>
                        <a:pt x="11" y="251"/>
                      </a:lnTo>
                      <a:lnTo>
                        <a:pt x="44" y="229"/>
                      </a:lnTo>
                      <a:lnTo>
                        <a:pt x="62" y="227"/>
                      </a:lnTo>
                      <a:lnTo>
                        <a:pt x="79" y="180"/>
                      </a:lnTo>
                      <a:lnTo>
                        <a:pt x="59" y="168"/>
                      </a:lnTo>
                      <a:lnTo>
                        <a:pt x="62" y="144"/>
                      </a:lnTo>
                      <a:lnTo>
                        <a:pt x="44" y="132"/>
                      </a:lnTo>
                      <a:lnTo>
                        <a:pt x="42" y="97"/>
                      </a:lnTo>
                      <a:lnTo>
                        <a:pt x="68" y="64"/>
                      </a:lnTo>
                      <a:lnTo>
                        <a:pt x="74" y="28"/>
                      </a:lnTo>
                      <a:lnTo>
                        <a:pt x="115" y="40"/>
                      </a:lnTo>
                      <a:lnTo>
                        <a:pt x="135" y="29"/>
                      </a:lnTo>
                      <a:lnTo>
                        <a:pt x="178" y="17"/>
                      </a:lnTo>
                      <a:lnTo>
                        <a:pt x="195" y="0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8" name="Freeform 107"/>
                <p:cNvSpPr>
                  <a:spLocks/>
                </p:cNvSpPr>
                <p:nvPr/>
              </p:nvSpPr>
              <p:spPr bwMode="gray">
                <a:xfrm>
                  <a:off x="6651625" y="2300288"/>
                  <a:ext cx="57150" cy="111125"/>
                </a:xfrm>
                <a:custGeom>
                  <a:avLst/>
                  <a:gdLst>
                    <a:gd name="T0" fmla="*/ 36 w 36"/>
                    <a:gd name="T1" fmla="*/ 18 h 70"/>
                    <a:gd name="T2" fmla="*/ 28 w 36"/>
                    <a:gd name="T3" fmla="*/ 43 h 70"/>
                    <a:gd name="T4" fmla="*/ 30 w 36"/>
                    <a:gd name="T5" fmla="*/ 68 h 70"/>
                    <a:gd name="T6" fmla="*/ 22 w 36"/>
                    <a:gd name="T7" fmla="*/ 70 h 70"/>
                    <a:gd name="T8" fmla="*/ 0 w 36"/>
                    <a:gd name="T9" fmla="*/ 27 h 70"/>
                    <a:gd name="T10" fmla="*/ 22 w 36"/>
                    <a:gd name="T11" fmla="*/ 0 h 70"/>
                    <a:gd name="T12" fmla="*/ 36 w 36"/>
                    <a:gd name="T13" fmla="*/ 18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6" h="70">
                      <a:moveTo>
                        <a:pt x="36" y="18"/>
                      </a:moveTo>
                      <a:lnTo>
                        <a:pt x="28" y="43"/>
                      </a:lnTo>
                      <a:lnTo>
                        <a:pt x="30" y="68"/>
                      </a:lnTo>
                      <a:lnTo>
                        <a:pt x="22" y="70"/>
                      </a:lnTo>
                      <a:lnTo>
                        <a:pt x="0" y="27"/>
                      </a:lnTo>
                      <a:lnTo>
                        <a:pt x="22" y="0"/>
                      </a:lnTo>
                      <a:lnTo>
                        <a:pt x="36" y="18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09" name="Freeform 108"/>
                <p:cNvSpPr>
                  <a:spLocks/>
                </p:cNvSpPr>
                <p:nvPr/>
              </p:nvSpPr>
              <p:spPr bwMode="gray">
                <a:xfrm>
                  <a:off x="5368925" y="2844800"/>
                  <a:ext cx="1392237" cy="1676400"/>
                </a:xfrm>
                <a:custGeom>
                  <a:avLst/>
                  <a:gdLst>
                    <a:gd name="T0" fmla="*/ 186 w 877"/>
                    <a:gd name="T1" fmla="*/ 257 h 1056"/>
                    <a:gd name="T2" fmla="*/ 274 w 877"/>
                    <a:gd name="T3" fmla="*/ 257 h 1056"/>
                    <a:gd name="T4" fmla="*/ 364 w 877"/>
                    <a:gd name="T5" fmla="*/ 348 h 1056"/>
                    <a:gd name="T6" fmla="*/ 402 w 877"/>
                    <a:gd name="T7" fmla="*/ 265 h 1056"/>
                    <a:gd name="T8" fmla="*/ 429 w 877"/>
                    <a:gd name="T9" fmla="*/ 168 h 1056"/>
                    <a:gd name="T10" fmla="*/ 512 w 877"/>
                    <a:gd name="T11" fmla="*/ 112 h 1056"/>
                    <a:gd name="T12" fmla="*/ 580 w 877"/>
                    <a:gd name="T13" fmla="*/ 112 h 1056"/>
                    <a:gd name="T14" fmla="*/ 648 w 877"/>
                    <a:gd name="T15" fmla="*/ 56 h 1056"/>
                    <a:gd name="T16" fmla="*/ 757 w 877"/>
                    <a:gd name="T17" fmla="*/ 24 h 1056"/>
                    <a:gd name="T18" fmla="*/ 801 w 877"/>
                    <a:gd name="T19" fmla="*/ 8 h 1056"/>
                    <a:gd name="T20" fmla="*/ 796 w 877"/>
                    <a:gd name="T21" fmla="*/ 99 h 1056"/>
                    <a:gd name="T22" fmla="*/ 854 w 877"/>
                    <a:gd name="T23" fmla="*/ 127 h 1056"/>
                    <a:gd name="T24" fmla="*/ 840 w 877"/>
                    <a:gd name="T25" fmla="*/ 213 h 1056"/>
                    <a:gd name="T26" fmla="*/ 857 w 877"/>
                    <a:gd name="T27" fmla="*/ 284 h 1056"/>
                    <a:gd name="T28" fmla="*/ 842 w 877"/>
                    <a:gd name="T29" fmla="*/ 345 h 1056"/>
                    <a:gd name="T30" fmla="*/ 798 w 877"/>
                    <a:gd name="T31" fmla="*/ 413 h 1056"/>
                    <a:gd name="T32" fmla="*/ 846 w 877"/>
                    <a:gd name="T33" fmla="*/ 512 h 1056"/>
                    <a:gd name="T34" fmla="*/ 794 w 877"/>
                    <a:gd name="T35" fmla="*/ 559 h 1056"/>
                    <a:gd name="T36" fmla="*/ 784 w 877"/>
                    <a:gd name="T37" fmla="*/ 600 h 1056"/>
                    <a:gd name="T38" fmla="*/ 786 w 877"/>
                    <a:gd name="T39" fmla="*/ 741 h 1056"/>
                    <a:gd name="T40" fmla="*/ 718 w 877"/>
                    <a:gd name="T41" fmla="*/ 789 h 1056"/>
                    <a:gd name="T42" fmla="*/ 745 w 877"/>
                    <a:gd name="T43" fmla="*/ 877 h 1056"/>
                    <a:gd name="T44" fmla="*/ 760 w 877"/>
                    <a:gd name="T45" fmla="*/ 943 h 1056"/>
                    <a:gd name="T46" fmla="*/ 732 w 877"/>
                    <a:gd name="T47" fmla="*/ 1015 h 1056"/>
                    <a:gd name="T48" fmla="*/ 665 w 877"/>
                    <a:gd name="T49" fmla="*/ 1047 h 1056"/>
                    <a:gd name="T50" fmla="*/ 593 w 877"/>
                    <a:gd name="T51" fmla="*/ 1039 h 1056"/>
                    <a:gd name="T52" fmla="*/ 530 w 877"/>
                    <a:gd name="T53" fmla="*/ 1056 h 1056"/>
                    <a:gd name="T54" fmla="*/ 461 w 877"/>
                    <a:gd name="T55" fmla="*/ 1039 h 1056"/>
                    <a:gd name="T56" fmla="*/ 414 w 877"/>
                    <a:gd name="T57" fmla="*/ 980 h 1056"/>
                    <a:gd name="T58" fmla="*/ 376 w 877"/>
                    <a:gd name="T59" fmla="*/ 976 h 1056"/>
                    <a:gd name="T60" fmla="*/ 302 w 877"/>
                    <a:gd name="T61" fmla="*/ 965 h 1056"/>
                    <a:gd name="T62" fmla="*/ 260 w 877"/>
                    <a:gd name="T63" fmla="*/ 1015 h 1056"/>
                    <a:gd name="T64" fmla="*/ 213 w 877"/>
                    <a:gd name="T65" fmla="*/ 1049 h 1056"/>
                    <a:gd name="T66" fmla="*/ 196 w 877"/>
                    <a:gd name="T67" fmla="*/ 957 h 1056"/>
                    <a:gd name="T68" fmla="*/ 168 w 877"/>
                    <a:gd name="T69" fmla="*/ 904 h 1056"/>
                    <a:gd name="T70" fmla="*/ 118 w 877"/>
                    <a:gd name="T71" fmla="*/ 844 h 1056"/>
                    <a:gd name="T72" fmla="*/ 56 w 877"/>
                    <a:gd name="T73" fmla="*/ 816 h 1056"/>
                    <a:gd name="T74" fmla="*/ 38 w 877"/>
                    <a:gd name="T75" fmla="*/ 739 h 1056"/>
                    <a:gd name="T76" fmla="*/ 38 w 877"/>
                    <a:gd name="T77" fmla="*/ 673 h 1056"/>
                    <a:gd name="T78" fmla="*/ 17 w 877"/>
                    <a:gd name="T79" fmla="*/ 600 h 1056"/>
                    <a:gd name="T80" fmla="*/ 49 w 877"/>
                    <a:gd name="T81" fmla="*/ 548 h 1056"/>
                    <a:gd name="T82" fmla="*/ 68 w 877"/>
                    <a:gd name="T83" fmla="*/ 445 h 1056"/>
                    <a:gd name="T84" fmla="*/ 24 w 877"/>
                    <a:gd name="T85" fmla="*/ 365 h 1056"/>
                    <a:gd name="T86" fmla="*/ 48 w 877"/>
                    <a:gd name="T87" fmla="*/ 323 h 1056"/>
                    <a:gd name="T88" fmla="*/ 130 w 877"/>
                    <a:gd name="T89" fmla="*/ 328 h 10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877" h="1056">
                      <a:moveTo>
                        <a:pt x="198" y="319"/>
                      </a:moveTo>
                      <a:lnTo>
                        <a:pt x="186" y="287"/>
                      </a:lnTo>
                      <a:lnTo>
                        <a:pt x="186" y="257"/>
                      </a:lnTo>
                      <a:lnTo>
                        <a:pt x="218" y="263"/>
                      </a:lnTo>
                      <a:lnTo>
                        <a:pt x="240" y="255"/>
                      </a:lnTo>
                      <a:lnTo>
                        <a:pt x="274" y="257"/>
                      </a:lnTo>
                      <a:lnTo>
                        <a:pt x="257" y="301"/>
                      </a:lnTo>
                      <a:lnTo>
                        <a:pt x="296" y="316"/>
                      </a:lnTo>
                      <a:lnTo>
                        <a:pt x="364" y="348"/>
                      </a:lnTo>
                      <a:lnTo>
                        <a:pt x="357" y="292"/>
                      </a:lnTo>
                      <a:lnTo>
                        <a:pt x="393" y="287"/>
                      </a:lnTo>
                      <a:lnTo>
                        <a:pt x="402" y="265"/>
                      </a:lnTo>
                      <a:lnTo>
                        <a:pt x="458" y="228"/>
                      </a:lnTo>
                      <a:lnTo>
                        <a:pt x="417" y="197"/>
                      </a:lnTo>
                      <a:lnTo>
                        <a:pt x="429" y="168"/>
                      </a:lnTo>
                      <a:lnTo>
                        <a:pt x="478" y="129"/>
                      </a:lnTo>
                      <a:lnTo>
                        <a:pt x="500" y="139"/>
                      </a:lnTo>
                      <a:lnTo>
                        <a:pt x="512" y="112"/>
                      </a:lnTo>
                      <a:lnTo>
                        <a:pt x="553" y="88"/>
                      </a:lnTo>
                      <a:lnTo>
                        <a:pt x="556" y="112"/>
                      </a:lnTo>
                      <a:lnTo>
                        <a:pt x="580" y="112"/>
                      </a:lnTo>
                      <a:lnTo>
                        <a:pt x="590" y="97"/>
                      </a:lnTo>
                      <a:lnTo>
                        <a:pt x="648" y="97"/>
                      </a:lnTo>
                      <a:lnTo>
                        <a:pt x="648" y="56"/>
                      </a:lnTo>
                      <a:lnTo>
                        <a:pt x="697" y="9"/>
                      </a:lnTo>
                      <a:lnTo>
                        <a:pt x="736" y="29"/>
                      </a:lnTo>
                      <a:lnTo>
                        <a:pt x="757" y="24"/>
                      </a:lnTo>
                      <a:lnTo>
                        <a:pt x="786" y="27"/>
                      </a:lnTo>
                      <a:lnTo>
                        <a:pt x="781" y="0"/>
                      </a:lnTo>
                      <a:lnTo>
                        <a:pt x="801" y="8"/>
                      </a:lnTo>
                      <a:lnTo>
                        <a:pt x="829" y="31"/>
                      </a:lnTo>
                      <a:lnTo>
                        <a:pt x="805" y="81"/>
                      </a:lnTo>
                      <a:lnTo>
                        <a:pt x="796" y="99"/>
                      </a:lnTo>
                      <a:lnTo>
                        <a:pt x="816" y="129"/>
                      </a:lnTo>
                      <a:lnTo>
                        <a:pt x="846" y="129"/>
                      </a:lnTo>
                      <a:lnTo>
                        <a:pt x="854" y="127"/>
                      </a:lnTo>
                      <a:lnTo>
                        <a:pt x="872" y="144"/>
                      </a:lnTo>
                      <a:lnTo>
                        <a:pt x="866" y="180"/>
                      </a:lnTo>
                      <a:lnTo>
                        <a:pt x="840" y="213"/>
                      </a:lnTo>
                      <a:lnTo>
                        <a:pt x="842" y="248"/>
                      </a:lnTo>
                      <a:lnTo>
                        <a:pt x="860" y="260"/>
                      </a:lnTo>
                      <a:lnTo>
                        <a:pt x="857" y="284"/>
                      </a:lnTo>
                      <a:lnTo>
                        <a:pt x="877" y="296"/>
                      </a:lnTo>
                      <a:lnTo>
                        <a:pt x="860" y="343"/>
                      </a:lnTo>
                      <a:lnTo>
                        <a:pt x="842" y="345"/>
                      </a:lnTo>
                      <a:lnTo>
                        <a:pt x="809" y="367"/>
                      </a:lnTo>
                      <a:lnTo>
                        <a:pt x="825" y="391"/>
                      </a:lnTo>
                      <a:lnTo>
                        <a:pt x="798" y="413"/>
                      </a:lnTo>
                      <a:lnTo>
                        <a:pt x="801" y="437"/>
                      </a:lnTo>
                      <a:lnTo>
                        <a:pt x="842" y="491"/>
                      </a:lnTo>
                      <a:lnTo>
                        <a:pt x="846" y="512"/>
                      </a:lnTo>
                      <a:lnTo>
                        <a:pt x="850" y="532"/>
                      </a:lnTo>
                      <a:lnTo>
                        <a:pt x="818" y="541"/>
                      </a:lnTo>
                      <a:lnTo>
                        <a:pt x="794" y="559"/>
                      </a:lnTo>
                      <a:lnTo>
                        <a:pt x="765" y="549"/>
                      </a:lnTo>
                      <a:lnTo>
                        <a:pt x="762" y="579"/>
                      </a:lnTo>
                      <a:lnTo>
                        <a:pt x="784" y="600"/>
                      </a:lnTo>
                      <a:lnTo>
                        <a:pt x="774" y="641"/>
                      </a:lnTo>
                      <a:lnTo>
                        <a:pt x="806" y="700"/>
                      </a:lnTo>
                      <a:lnTo>
                        <a:pt x="786" y="741"/>
                      </a:lnTo>
                      <a:lnTo>
                        <a:pt x="765" y="741"/>
                      </a:lnTo>
                      <a:lnTo>
                        <a:pt x="768" y="768"/>
                      </a:lnTo>
                      <a:lnTo>
                        <a:pt x="718" y="789"/>
                      </a:lnTo>
                      <a:lnTo>
                        <a:pt x="733" y="843"/>
                      </a:lnTo>
                      <a:lnTo>
                        <a:pt x="724" y="863"/>
                      </a:lnTo>
                      <a:lnTo>
                        <a:pt x="745" y="877"/>
                      </a:lnTo>
                      <a:lnTo>
                        <a:pt x="745" y="911"/>
                      </a:lnTo>
                      <a:lnTo>
                        <a:pt x="765" y="911"/>
                      </a:lnTo>
                      <a:lnTo>
                        <a:pt x="760" y="943"/>
                      </a:lnTo>
                      <a:lnTo>
                        <a:pt x="773" y="969"/>
                      </a:lnTo>
                      <a:lnTo>
                        <a:pt x="741" y="988"/>
                      </a:lnTo>
                      <a:lnTo>
                        <a:pt x="732" y="1015"/>
                      </a:lnTo>
                      <a:lnTo>
                        <a:pt x="712" y="1015"/>
                      </a:lnTo>
                      <a:lnTo>
                        <a:pt x="677" y="1035"/>
                      </a:lnTo>
                      <a:lnTo>
                        <a:pt x="665" y="1047"/>
                      </a:lnTo>
                      <a:lnTo>
                        <a:pt x="641" y="1044"/>
                      </a:lnTo>
                      <a:lnTo>
                        <a:pt x="620" y="1053"/>
                      </a:lnTo>
                      <a:lnTo>
                        <a:pt x="593" y="1039"/>
                      </a:lnTo>
                      <a:lnTo>
                        <a:pt x="570" y="1051"/>
                      </a:lnTo>
                      <a:lnTo>
                        <a:pt x="546" y="1044"/>
                      </a:lnTo>
                      <a:lnTo>
                        <a:pt x="530" y="1056"/>
                      </a:lnTo>
                      <a:lnTo>
                        <a:pt x="513" y="1045"/>
                      </a:lnTo>
                      <a:lnTo>
                        <a:pt x="482" y="1056"/>
                      </a:lnTo>
                      <a:lnTo>
                        <a:pt x="461" y="1039"/>
                      </a:lnTo>
                      <a:lnTo>
                        <a:pt x="442" y="1027"/>
                      </a:lnTo>
                      <a:lnTo>
                        <a:pt x="436" y="1012"/>
                      </a:lnTo>
                      <a:lnTo>
                        <a:pt x="414" y="980"/>
                      </a:lnTo>
                      <a:lnTo>
                        <a:pt x="409" y="961"/>
                      </a:lnTo>
                      <a:lnTo>
                        <a:pt x="393" y="955"/>
                      </a:lnTo>
                      <a:lnTo>
                        <a:pt x="376" y="976"/>
                      </a:lnTo>
                      <a:lnTo>
                        <a:pt x="360" y="953"/>
                      </a:lnTo>
                      <a:lnTo>
                        <a:pt x="330" y="936"/>
                      </a:lnTo>
                      <a:lnTo>
                        <a:pt x="302" y="965"/>
                      </a:lnTo>
                      <a:lnTo>
                        <a:pt x="294" y="1004"/>
                      </a:lnTo>
                      <a:lnTo>
                        <a:pt x="269" y="1035"/>
                      </a:lnTo>
                      <a:lnTo>
                        <a:pt x="260" y="1015"/>
                      </a:lnTo>
                      <a:lnTo>
                        <a:pt x="254" y="1027"/>
                      </a:lnTo>
                      <a:lnTo>
                        <a:pt x="218" y="1039"/>
                      </a:lnTo>
                      <a:lnTo>
                        <a:pt x="213" y="1049"/>
                      </a:lnTo>
                      <a:lnTo>
                        <a:pt x="194" y="1049"/>
                      </a:lnTo>
                      <a:lnTo>
                        <a:pt x="189" y="1021"/>
                      </a:lnTo>
                      <a:lnTo>
                        <a:pt x="196" y="957"/>
                      </a:lnTo>
                      <a:lnTo>
                        <a:pt x="169" y="940"/>
                      </a:lnTo>
                      <a:lnTo>
                        <a:pt x="160" y="921"/>
                      </a:lnTo>
                      <a:lnTo>
                        <a:pt x="168" y="904"/>
                      </a:lnTo>
                      <a:lnTo>
                        <a:pt x="148" y="897"/>
                      </a:lnTo>
                      <a:lnTo>
                        <a:pt x="145" y="869"/>
                      </a:lnTo>
                      <a:lnTo>
                        <a:pt x="118" y="844"/>
                      </a:lnTo>
                      <a:lnTo>
                        <a:pt x="112" y="829"/>
                      </a:lnTo>
                      <a:lnTo>
                        <a:pt x="104" y="816"/>
                      </a:lnTo>
                      <a:lnTo>
                        <a:pt x="56" y="816"/>
                      </a:lnTo>
                      <a:lnTo>
                        <a:pt x="46" y="785"/>
                      </a:lnTo>
                      <a:lnTo>
                        <a:pt x="58" y="759"/>
                      </a:lnTo>
                      <a:lnTo>
                        <a:pt x="38" y="739"/>
                      </a:lnTo>
                      <a:lnTo>
                        <a:pt x="33" y="708"/>
                      </a:lnTo>
                      <a:lnTo>
                        <a:pt x="20" y="701"/>
                      </a:lnTo>
                      <a:lnTo>
                        <a:pt x="38" y="673"/>
                      </a:lnTo>
                      <a:lnTo>
                        <a:pt x="29" y="653"/>
                      </a:lnTo>
                      <a:lnTo>
                        <a:pt x="30" y="629"/>
                      </a:lnTo>
                      <a:lnTo>
                        <a:pt x="17" y="600"/>
                      </a:lnTo>
                      <a:lnTo>
                        <a:pt x="0" y="579"/>
                      </a:lnTo>
                      <a:lnTo>
                        <a:pt x="26" y="552"/>
                      </a:lnTo>
                      <a:lnTo>
                        <a:pt x="49" y="548"/>
                      </a:lnTo>
                      <a:lnTo>
                        <a:pt x="49" y="512"/>
                      </a:lnTo>
                      <a:lnTo>
                        <a:pt x="82" y="467"/>
                      </a:lnTo>
                      <a:lnTo>
                        <a:pt x="68" y="445"/>
                      </a:lnTo>
                      <a:lnTo>
                        <a:pt x="65" y="424"/>
                      </a:lnTo>
                      <a:lnTo>
                        <a:pt x="34" y="400"/>
                      </a:lnTo>
                      <a:lnTo>
                        <a:pt x="24" y="365"/>
                      </a:lnTo>
                      <a:lnTo>
                        <a:pt x="30" y="333"/>
                      </a:lnTo>
                      <a:lnTo>
                        <a:pt x="33" y="343"/>
                      </a:lnTo>
                      <a:lnTo>
                        <a:pt x="48" y="323"/>
                      </a:lnTo>
                      <a:lnTo>
                        <a:pt x="62" y="340"/>
                      </a:lnTo>
                      <a:lnTo>
                        <a:pt x="125" y="307"/>
                      </a:lnTo>
                      <a:lnTo>
                        <a:pt x="130" y="328"/>
                      </a:lnTo>
                      <a:lnTo>
                        <a:pt x="198" y="319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0" name="Freeform 109"/>
                <p:cNvSpPr>
                  <a:spLocks/>
                </p:cNvSpPr>
                <p:nvPr/>
              </p:nvSpPr>
              <p:spPr bwMode="gray">
                <a:xfrm>
                  <a:off x="6000750" y="3027363"/>
                  <a:ext cx="68262" cy="60325"/>
                </a:xfrm>
                <a:custGeom>
                  <a:avLst/>
                  <a:gdLst>
                    <a:gd name="T0" fmla="*/ 0 w 43"/>
                    <a:gd name="T1" fmla="*/ 38 h 38"/>
                    <a:gd name="T2" fmla="*/ 43 w 43"/>
                    <a:gd name="T3" fmla="*/ 14 h 38"/>
                    <a:gd name="T4" fmla="*/ 34 w 43"/>
                    <a:gd name="T5" fmla="*/ 0 h 38"/>
                    <a:gd name="T6" fmla="*/ 2 w 43"/>
                    <a:gd name="T7" fmla="*/ 0 h 38"/>
                    <a:gd name="T8" fmla="*/ 0 w 43"/>
                    <a:gd name="T9" fmla="*/ 38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3" h="38">
                      <a:moveTo>
                        <a:pt x="0" y="38"/>
                      </a:moveTo>
                      <a:lnTo>
                        <a:pt x="43" y="14"/>
                      </a:lnTo>
                      <a:lnTo>
                        <a:pt x="34" y="0"/>
                      </a:lnTo>
                      <a:lnTo>
                        <a:pt x="2" y="0"/>
                      </a:lnTo>
                      <a:lnTo>
                        <a:pt x="0" y="38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1" name="Freeform 110"/>
                <p:cNvSpPr>
                  <a:spLocks/>
                </p:cNvSpPr>
                <p:nvPr/>
              </p:nvSpPr>
              <p:spPr bwMode="gray">
                <a:xfrm>
                  <a:off x="5826125" y="2887663"/>
                  <a:ext cx="147637" cy="142875"/>
                </a:xfrm>
                <a:custGeom>
                  <a:avLst/>
                  <a:gdLst>
                    <a:gd name="T0" fmla="*/ 0 w 93"/>
                    <a:gd name="T1" fmla="*/ 50 h 90"/>
                    <a:gd name="T2" fmla="*/ 1 w 93"/>
                    <a:gd name="T3" fmla="*/ 66 h 90"/>
                    <a:gd name="T4" fmla="*/ 33 w 93"/>
                    <a:gd name="T5" fmla="*/ 90 h 90"/>
                    <a:gd name="T6" fmla="*/ 52 w 93"/>
                    <a:gd name="T7" fmla="*/ 90 h 90"/>
                    <a:gd name="T8" fmla="*/ 93 w 93"/>
                    <a:gd name="T9" fmla="*/ 37 h 90"/>
                    <a:gd name="T10" fmla="*/ 93 w 93"/>
                    <a:gd name="T11" fmla="*/ 0 h 90"/>
                    <a:gd name="T12" fmla="*/ 33 w 93"/>
                    <a:gd name="T13" fmla="*/ 1 h 90"/>
                    <a:gd name="T14" fmla="*/ 28 w 93"/>
                    <a:gd name="T15" fmla="*/ 17 h 90"/>
                    <a:gd name="T16" fmla="*/ 32 w 93"/>
                    <a:gd name="T17" fmla="*/ 30 h 90"/>
                    <a:gd name="T18" fmla="*/ 14 w 93"/>
                    <a:gd name="T19" fmla="*/ 28 h 90"/>
                    <a:gd name="T20" fmla="*/ 0 w 93"/>
                    <a:gd name="T21" fmla="*/ 50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93" h="90">
                      <a:moveTo>
                        <a:pt x="0" y="50"/>
                      </a:moveTo>
                      <a:lnTo>
                        <a:pt x="1" y="66"/>
                      </a:lnTo>
                      <a:lnTo>
                        <a:pt x="33" y="90"/>
                      </a:lnTo>
                      <a:lnTo>
                        <a:pt x="52" y="90"/>
                      </a:lnTo>
                      <a:lnTo>
                        <a:pt x="93" y="37"/>
                      </a:lnTo>
                      <a:lnTo>
                        <a:pt x="93" y="0"/>
                      </a:lnTo>
                      <a:lnTo>
                        <a:pt x="33" y="1"/>
                      </a:lnTo>
                      <a:lnTo>
                        <a:pt x="28" y="17"/>
                      </a:lnTo>
                      <a:lnTo>
                        <a:pt x="32" y="30"/>
                      </a:lnTo>
                      <a:lnTo>
                        <a:pt x="14" y="28"/>
                      </a:lnTo>
                      <a:lnTo>
                        <a:pt x="0" y="50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2" name="Freeform 111"/>
                <p:cNvSpPr>
                  <a:spLocks/>
                </p:cNvSpPr>
                <p:nvPr/>
              </p:nvSpPr>
              <p:spPr bwMode="gray">
                <a:xfrm>
                  <a:off x="5981700" y="2820988"/>
                  <a:ext cx="106362" cy="63500"/>
                </a:xfrm>
                <a:custGeom>
                  <a:avLst/>
                  <a:gdLst>
                    <a:gd name="T0" fmla="*/ 0 w 67"/>
                    <a:gd name="T1" fmla="*/ 20 h 40"/>
                    <a:gd name="T2" fmla="*/ 24 w 67"/>
                    <a:gd name="T3" fmla="*/ 18 h 40"/>
                    <a:gd name="T4" fmla="*/ 48 w 67"/>
                    <a:gd name="T5" fmla="*/ 0 h 40"/>
                    <a:gd name="T6" fmla="*/ 67 w 67"/>
                    <a:gd name="T7" fmla="*/ 11 h 40"/>
                    <a:gd name="T8" fmla="*/ 34 w 67"/>
                    <a:gd name="T9" fmla="*/ 40 h 40"/>
                    <a:gd name="T10" fmla="*/ 11 w 67"/>
                    <a:gd name="T11" fmla="*/ 40 h 40"/>
                    <a:gd name="T12" fmla="*/ 0 w 67"/>
                    <a:gd name="T13" fmla="*/ 20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7" h="40">
                      <a:moveTo>
                        <a:pt x="0" y="20"/>
                      </a:moveTo>
                      <a:lnTo>
                        <a:pt x="24" y="18"/>
                      </a:lnTo>
                      <a:lnTo>
                        <a:pt x="48" y="0"/>
                      </a:lnTo>
                      <a:lnTo>
                        <a:pt x="67" y="11"/>
                      </a:lnTo>
                      <a:lnTo>
                        <a:pt x="34" y="40"/>
                      </a:lnTo>
                      <a:lnTo>
                        <a:pt x="11" y="40"/>
                      </a:lnTo>
                      <a:lnTo>
                        <a:pt x="0" y="20"/>
                      </a:lnTo>
                      <a:close/>
                    </a:path>
                  </a:pathLst>
                </a:custGeom>
                <a:grpFill/>
                <a:ln w="317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  <p:sp>
            <p:nvSpPr>
              <p:cNvPr id="116" name="Freeform 39"/>
              <p:cNvSpPr>
                <a:spLocks/>
              </p:cNvSpPr>
              <p:nvPr/>
            </p:nvSpPr>
            <p:spPr bwMode="gray">
              <a:xfrm>
                <a:off x="2662914" y="2412548"/>
                <a:ext cx="351203" cy="437119"/>
              </a:xfrm>
              <a:custGeom>
                <a:avLst/>
                <a:gdLst>
                  <a:gd name="T0" fmla="*/ 17 w 200"/>
                  <a:gd name="T1" fmla="*/ 70 h 257"/>
                  <a:gd name="T2" fmla="*/ 56 w 200"/>
                  <a:gd name="T3" fmla="*/ 58 h 257"/>
                  <a:gd name="T4" fmla="*/ 47 w 200"/>
                  <a:gd name="T5" fmla="*/ 32 h 257"/>
                  <a:gd name="T6" fmla="*/ 74 w 200"/>
                  <a:gd name="T7" fmla="*/ 5 h 257"/>
                  <a:gd name="T8" fmla="*/ 110 w 200"/>
                  <a:gd name="T9" fmla="*/ 0 h 257"/>
                  <a:gd name="T10" fmla="*/ 127 w 200"/>
                  <a:gd name="T11" fmla="*/ 2 h 257"/>
                  <a:gd name="T12" fmla="*/ 144 w 200"/>
                  <a:gd name="T13" fmla="*/ 20 h 257"/>
                  <a:gd name="T14" fmla="*/ 171 w 200"/>
                  <a:gd name="T15" fmla="*/ 44 h 257"/>
                  <a:gd name="T16" fmla="*/ 147 w 200"/>
                  <a:gd name="T17" fmla="*/ 46 h 257"/>
                  <a:gd name="T18" fmla="*/ 174 w 200"/>
                  <a:gd name="T19" fmla="*/ 85 h 257"/>
                  <a:gd name="T20" fmla="*/ 180 w 200"/>
                  <a:gd name="T21" fmla="*/ 142 h 257"/>
                  <a:gd name="T22" fmla="*/ 200 w 200"/>
                  <a:gd name="T23" fmla="*/ 209 h 257"/>
                  <a:gd name="T24" fmla="*/ 154 w 200"/>
                  <a:gd name="T25" fmla="*/ 257 h 257"/>
                  <a:gd name="T26" fmla="*/ 115 w 200"/>
                  <a:gd name="T27" fmla="*/ 250 h 257"/>
                  <a:gd name="T28" fmla="*/ 61 w 200"/>
                  <a:gd name="T29" fmla="*/ 162 h 257"/>
                  <a:gd name="T30" fmla="*/ 61 w 200"/>
                  <a:gd name="T31" fmla="*/ 126 h 257"/>
                  <a:gd name="T32" fmla="*/ 45 w 200"/>
                  <a:gd name="T33" fmla="*/ 142 h 257"/>
                  <a:gd name="T34" fmla="*/ 36 w 200"/>
                  <a:gd name="T35" fmla="*/ 136 h 257"/>
                  <a:gd name="T36" fmla="*/ 29 w 200"/>
                  <a:gd name="T37" fmla="*/ 152 h 257"/>
                  <a:gd name="T38" fmla="*/ 17 w 200"/>
                  <a:gd name="T39" fmla="*/ 142 h 257"/>
                  <a:gd name="T40" fmla="*/ 24 w 200"/>
                  <a:gd name="T41" fmla="*/ 120 h 257"/>
                  <a:gd name="T42" fmla="*/ 0 w 200"/>
                  <a:gd name="T43" fmla="*/ 96 h 257"/>
                  <a:gd name="T44" fmla="*/ 17 w 200"/>
                  <a:gd name="T45" fmla="*/ 70 h 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00" h="257">
                    <a:moveTo>
                      <a:pt x="17" y="70"/>
                    </a:moveTo>
                    <a:lnTo>
                      <a:pt x="56" y="58"/>
                    </a:lnTo>
                    <a:lnTo>
                      <a:pt x="47" y="32"/>
                    </a:lnTo>
                    <a:lnTo>
                      <a:pt x="74" y="5"/>
                    </a:lnTo>
                    <a:lnTo>
                      <a:pt x="110" y="0"/>
                    </a:lnTo>
                    <a:lnTo>
                      <a:pt x="127" y="2"/>
                    </a:lnTo>
                    <a:lnTo>
                      <a:pt x="144" y="20"/>
                    </a:lnTo>
                    <a:lnTo>
                      <a:pt x="171" y="44"/>
                    </a:lnTo>
                    <a:lnTo>
                      <a:pt x="147" y="46"/>
                    </a:lnTo>
                    <a:lnTo>
                      <a:pt x="174" y="85"/>
                    </a:lnTo>
                    <a:lnTo>
                      <a:pt x="180" y="142"/>
                    </a:lnTo>
                    <a:lnTo>
                      <a:pt x="200" y="209"/>
                    </a:lnTo>
                    <a:lnTo>
                      <a:pt x="154" y="257"/>
                    </a:lnTo>
                    <a:lnTo>
                      <a:pt x="115" y="250"/>
                    </a:lnTo>
                    <a:lnTo>
                      <a:pt x="61" y="162"/>
                    </a:lnTo>
                    <a:lnTo>
                      <a:pt x="61" y="126"/>
                    </a:lnTo>
                    <a:lnTo>
                      <a:pt x="45" y="142"/>
                    </a:lnTo>
                    <a:lnTo>
                      <a:pt x="36" y="136"/>
                    </a:lnTo>
                    <a:lnTo>
                      <a:pt x="29" y="152"/>
                    </a:lnTo>
                    <a:lnTo>
                      <a:pt x="17" y="142"/>
                    </a:lnTo>
                    <a:lnTo>
                      <a:pt x="24" y="120"/>
                    </a:lnTo>
                    <a:lnTo>
                      <a:pt x="0" y="96"/>
                    </a:lnTo>
                    <a:lnTo>
                      <a:pt x="17" y="70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7" name="Freeform 53"/>
              <p:cNvSpPr>
                <a:spLocks/>
              </p:cNvSpPr>
              <p:nvPr/>
            </p:nvSpPr>
            <p:spPr bwMode="gray">
              <a:xfrm>
                <a:off x="1572428" y="3994339"/>
                <a:ext cx="245842" cy="318060"/>
              </a:xfrm>
              <a:custGeom>
                <a:avLst/>
                <a:gdLst>
                  <a:gd name="T0" fmla="*/ 137 w 140"/>
                  <a:gd name="T1" fmla="*/ 106 h 187"/>
                  <a:gd name="T2" fmla="*/ 140 w 140"/>
                  <a:gd name="T3" fmla="*/ 80 h 187"/>
                  <a:gd name="T4" fmla="*/ 120 w 140"/>
                  <a:gd name="T5" fmla="*/ 68 h 187"/>
                  <a:gd name="T6" fmla="*/ 122 w 140"/>
                  <a:gd name="T7" fmla="*/ 52 h 187"/>
                  <a:gd name="T8" fmla="*/ 134 w 140"/>
                  <a:gd name="T9" fmla="*/ 47 h 187"/>
                  <a:gd name="T10" fmla="*/ 130 w 140"/>
                  <a:gd name="T11" fmla="*/ 31 h 187"/>
                  <a:gd name="T12" fmla="*/ 104 w 140"/>
                  <a:gd name="T13" fmla="*/ 31 h 187"/>
                  <a:gd name="T14" fmla="*/ 100 w 140"/>
                  <a:gd name="T15" fmla="*/ 6 h 187"/>
                  <a:gd name="T16" fmla="*/ 62 w 140"/>
                  <a:gd name="T17" fmla="*/ 0 h 187"/>
                  <a:gd name="T18" fmla="*/ 70 w 140"/>
                  <a:gd name="T19" fmla="*/ 31 h 187"/>
                  <a:gd name="T20" fmla="*/ 36 w 140"/>
                  <a:gd name="T21" fmla="*/ 31 h 187"/>
                  <a:gd name="T22" fmla="*/ 29 w 140"/>
                  <a:gd name="T23" fmla="*/ 39 h 187"/>
                  <a:gd name="T24" fmla="*/ 6 w 140"/>
                  <a:gd name="T25" fmla="*/ 24 h 187"/>
                  <a:gd name="T26" fmla="*/ 0 w 140"/>
                  <a:gd name="T27" fmla="*/ 46 h 187"/>
                  <a:gd name="T28" fmla="*/ 22 w 140"/>
                  <a:gd name="T29" fmla="*/ 170 h 187"/>
                  <a:gd name="T30" fmla="*/ 24 w 140"/>
                  <a:gd name="T31" fmla="*/ 170 h 187"/>
                  <a:gd name="T32" fmla="*/ 36 w 140"/>
                  <a:gd name="T33" fmla="*/ 167 h 187"/>
                  <a:gd name="T34" fmla="*/ 54 w 140"/>
                  <a:gd name="T35" fmla="*/ 187 h 187"/>
                  <a:gd name="T36" fmla="*/ 73 w 140"/>
                  <a:gd name="T37" fmla="*/ 170 h 187"/>
                  <a:gd name="T38" fmla="*/ 93 w 140"/>
                  <a:gd name="T39" fmla="*/ 178 h 187"/>
                  <a:gd name="T40" fmla="*/ 104 w 140"/>
                  <a:gd name="T41" fmla="*/ 175 h 187"/>
                  <a:gd name="T42" fmla="*/ 105 w 140"/>
                  <a:gd name="T43" fmla="*/ 175 h 187"/>
                  <a:gd name="T44" fmla="*/ 104 w 140"/>
                  <a:gd name="T45" fmla="*/ 156 h 187"/>
                  <a:gd name="T46" fmla="*/ 122 w 140"/>
                  <a:gd name="T47" fmla="*/ 150 h 187"/>
                  <a:gd name="T48" fmla="*/ 112 w 140"/>
                  <a:gd name="T49" fmla="*/ 123 h 187"/>
                  <a:gd name="T50" fmla="*/ 137 w 140"/>
                  <a:gd name="T51" fmla="*/ 106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40" h="187">
                    <a:moveTo>
                      <a:pt x="137" y="106"/>
                    </a:moveTo>
                    <a:lnTo>
                      <a:pt x="140" y="80"/>
                    </a:lnTo>
                    <a:lnTo>
                      <a:pt x="120" y="68"/>
                    </a:lnTo>
                    <a:lnTo>
                      <a:pt x="122" y="52"/>
                    </a:lnTo>
                    <a:lnTo>
                      <a:pt x="134" y="47"/>
                    </a:lnTo>
                    <a:lnTo>
                      <a:pt x="130" y="31"/>
                    </a:lnTo>
                    <a:lnTo>
                      <a:pt x="104" y="31"/>
                    </a:lnTo>
                    <a:lnTo>
                      <a:pt x="100" y="6"/>
                    </a:lnTo>
                    <a:lnTo>
                      <a:pt x="62" y="0"/>
                    </a:lnTo>
                    <a:lnTo>
                      <a:pt x="70" y="31"/>
                    </a:lnTo>
                    <a:lnTo>
                      <a:pt x="36" y="31"/>
                    </a:lnTo>
                    <a:lnTo>
                      <a:pt x="29" y="39"/>
                    </a:lnTo>
                    <a:lnTo>
                      <a:pt x="6" y="24"/>
                    </a:lnTo>
                    <a:lnTo>
                      <a:pt x="0" y="46"/>
                    </a:lnTo>
                    <a:lnTo>
                      <a:pt x="22" y="170"/>
                    </a:lnTo>
                    <a:lnTo>
                      <a:pt x="24" y="170"/>
                    </a:lnTo>
                    <a:lnTo>
                      <a:pt x="36" y="167"/>
                    </a:lnTo>
                    <a:lnTo>
                      <a:pt x="54" y="187"/>
                    </a:lnTo>
                    <a:lnTo>
                      <a:pt x="73" y="170"/>
                    </a:lnTo>
                    <a:lnTo>
                      <a:pt x="93" y="178"/>
                    </a:lnTo>
                    <a:lnTo>
                      <a:pt x="104" y="175"/>
                    </a:lnTo>
                    <a:lnTo>
                      <a:pt x="105" y="175"/>
                    </a:lnTo>
                    <a:lnTo>
                      <a:pt x="104" y="156"/>
                    </a:lnTo>
                    <a:lnTo>
                      <a:pt x="122" y="150"/>
                    </a:lnTo>
                    <a:lnTo>
                      <a:pt x="112" y="123"/>
                    </a:lnTo>
                    <a:lnTo>
                      <a:pt x="137" y="106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8" name="Freeform 54"/>
              <p:cNvSpPr>
                <a:spLocks/>
              </p:cNvSpPr>
              <p:nvPr/>
            </p:nvSpPr>
            <p:spPr bwMode="gray">
              <a:xfrm>
                <a:off x="1649693" y="4123604"/>
                <a:ext cx="70241" cy="154778"/>
              </a:xfrm>
              <a:custGeom>
                <a:avLst/>
                <a:gdLst>
                  <a:gd name="T0" fmla="*/ 16 w 40"/>
                  <a:gd name="T1" fmla="*/ 47 h 91"/>
                  <a:gd name="T2" fmla="*/ 20 w 40"/>
                  <a:gd name="T3" fmla="*/ 32 h 91"/>
                  <a:gd name="T4" fmla="*/ 1 w 40"/>
                  <a:gd name="T5" fmla="*/ 20 h 91"/>
                  <a:gd name="T6" fmla="*/ 1 w 40"/>
                  <a:gd name="T7" fmla="*/ 0 h 91"/>
                  <a:gd name="T8" fmla="*/ 22 w 40"/>
                  <a:gd name="T9" fmla="*/ 18 h 91"/>
                  <a:gd name="T10" fmla="*/ 37 w 40"/>
                  <a:gd name="T11" fmla="*/ 30 h 91"/>
                  <a:gd name="T12" fmla="*/ 40 w 40"/>
                  <a:gd name="T13" fmla="*/ 64 h 91"/>
                  <a:gd name="T14" fmla="*/ 26 w 40"/>
                  <a:gd name="T15" fmla="*/ 58 h 91"/>
                  <a:gd name="T16" fmla="*/ 20 w 40"/>
                  <a:gd name="T17" fmla="*/ 79 h 91"/>
                  <a:gd name="T18" fmla="*/ 9 w 40"/>
                  <a:gd name="T19" fmla="*/ 91 h 91"/>
                  <a:gd name="T20" fmla="*/ 0 w 40"/>
                  <a:gd name="T21" fmla="*/ 71 h 91"/>
                  <a:gd name="T22" fmla="*/ 16 w 40"/>
                  <a:gd name="T23" fmla="*/ 47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91">
                    <a:moveTo>
                      <a:pt x="16" y="47"/>
                    </a:moveTo>
                    <a:lnTo>
                      <a:pt x="20" y="32"/>
                    </a:lnTo>
                    <a:lnTo>
                      <a:pt x="1" y="20"/>
                    </a:lnTo>
                    <a:lnTo>
                      <a:pt x="1" y="0"/>
                    </a:lnTo>
                    <a:lnTo>
                      <a:pt x="22" y="18"/>
                    </a:lnTo>
                    <a:lnTo>
                      <a:pt x="37" y="30"/>
                    </a:lnTo>
                    <a:lnTo>
                      <a:pt x="40" y="64"/>
                    </a:lnTo>
                    <a:lnTo>
                      <a:pt x="26" y="58"/>
                    </a:lnTo>
                    <a:lnTo>
                      <a:pt x="20" y="79"/>
                    </a:lnTo>
                    <a:lnTo>
                      <a:pt x="9" y="91"/>
                    </a:lnTo>
                    <a:lnTo>
                      <a:pt x="0" y="71"/>
                    </a:lnTo>
                    <a:lnTo>
                      <a:pt x="16" y="47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9" name="Freeform 66"/>
              <p:cNvSpPr>
                <a:spLocks/>
              </p:cNvSpPr>
              <p:nvPr/>
            </p:nvSpPr>
            <p:spPr bwMode="gray">
              <a:xfrm>
                <a:off x="2123817" y="3331008"/>
                <a:ext cx="180869" cy="219410"/>
              </a:xfrm>
              <a:custGeom>
                <a:avLst/>
                <a:gdLst>
                  <a:gd name="T0" fmla="*/ 39 w 103"/>
                  <a:gd name="T1" fmla="*/ 129 h 129"/>
                  <a:gd name="T2" fmla="*/ 96 w 103"/>
                  <a:gd name="T3" fmla="*/ 128 h 129"/>
                  <a:gd name="T4" fmla="*/ 100 w 103"/>
                  <a:gd name="T5" fmla="*/ 117 h 129"/>
                  <a:gd name="T6" fmla="*/ 103 w 103"/>
                  <a:gd name="T7" fmla="*/ 98 h 129"/>
                  <a:gd name="T8" fmla="*/ 86 w 103"/>
                  <a:gd name="T9" fmla="*/ 77 h 129"/>
                  <a:gd name="T10" fmla="*/ 100 w 103"/>
                  <a:gd name="T11" fmla="*/ 56 h 129"/>
                  <a:gd name="T12" fmla="*/ 96 w 103"/>
                  <a:gd name="T13" fmla="*/ 32 h 129"/>
                  <a:gd name="T14" fmla="*/ 82 w 103"/>
                  <a:gd name="T15" fmla="*/ 20 h 129"/>
                  <a:gd name="T16" fmla="*/ 66 w 103"/>
                  <a:gd name="T17" fmla="*/ 20 h 129"/>
                  <a:gd name="T18" fmla="*/ 35 w 103"/>
                  <a:gd name="T19" fmla="*/ 0 h 129"/>
                  <a:gd name="T20" fmla="*/ 20 w 103"/>
                  <a:gd name="T21" fmla="*/ 8 h 129"/>
                  <a:gd name="T22" fmla="*/ 14 w 103"/>
                  <a:gd name="T23" fmla="*/ 12 h 129"/>
                  <a:gd name="T24" fmla="*/ 0 w 103"/>
                  <a:gd name="T25" fmla="*/ 28 h 129"/>
                  <a:gd name="T26" fmla="*/ 3 w 103"/>
                  <a:gd name="T27" fmla="*/ 41 h 129"/>
                  <a:gd name="T28" fmla="*/ 10 w 103"/>
                  <a:gd name="T29" fmla="*/ 52 h 129"/>
                  <a:gd name="T30" fmla="*/ 24 w 103"/>
                  <a:gd name="T31" fmla="*/ 62 h 129"/>
                  <a:gd name="T32" fmla="*/ 24 w 103"/>
                  <a:gd name="T33" fmla="*/ 93 h 129"/>
                  <a:gd name="T34" fmla="*/ 39 w 103"/>
                  <a:gd name="T35" fmla="*/ 129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3" h="129">
                    <a:moveTo>
                      <a:pt x="39" y="129"/>
                    </a:moveTo>
                    <a:lnTo>
                      <a:pt x="96" y="128"/>
                    </a:lnTo>
                    <a:lnTo>
                      <a:pt x="100" y="117"/>
                    </a:lnTo>
                    <a:lnTo>
                      <a:pt x="103" y="98"/>
                    </a:lnTo>
                    <a:lnTo>
                      <a:pt x="86" y="77"/>
                    </a:lnTo>
                    <a:lnTo>
                      <a:pt x="100" y="56"/>
                    </a:lnTo>
                    <a:lnTo>
                      <a:pt x="96" y="32"/>
                    </a:lnTo>
                    <a:lnTo>
                      <a:pt x="82" y="20"/>
                    </a:lnTo>
                    <a:lnTo>
                      <a:pt x="66" y="20"/>
                    </a:lnTo>
                    <a:lnTo>
                      <a:pt x="35" y="0"/>
                    </a:lnTo>
                    <a:lnTo>
                      <a:pt x="20" y="8"/>
                    </a:lnTo>
                    <a:lnTo>
                      <a:pt x="14" y="12"/>
                    </a:lnTo>
                    <a:lnTo>
                      <a:pt x="0" y="28"/>
                    </a:lnTo>
                    <a:lnTo>
                      <a:pt x="3" y="41"/>
                    </a:lnTo>
                    <a:lnTo>
                      <a:pt x="10" y="52"/>
                    </a:lnTo>
                    <a:lnTo>
                      <a:pt x="24" y="62"/>
                    </a:lnTo>
                    <a:lnTo>
                      <a:pt x="24" y="93"/>
                    </a:lnTo>
                    <a:lnTo>
                      <a:pt x="39" y="129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0" name="Freeform 77"/>
              <p:cNvSpPr>
                <a:spLocks noEditPoints="1"/>
              </p:cNvSpPr>
              <p:nvPr/>
            </p:nvSpPr>
            <p:spPr bwMode="gray">
              <a:xfrm>
                <a:off x="4250351" y="3257871"/>
                <a:ext cx="820058" cy="1382792"/>
              </a:xfrm>
              <a:custGeom>
                <a:avLst/>
                <a:gdLst>
                  <a:gd name="T0" fmla="*/ 154 w 467"/>
                  <a:gd name="T1" fmla="*/ 797 h 813"/>
                  <a:gd name="T2" fmla="*/ 180 w 467"/>
                  <a:gd name="T3" fmla="*/ 772 h 813"/>
                  <a:gd name="T4" fmla="*/ 196 w 467"/>
                  <a:gd name="T5" fmla="*/ 744 h 813"/>
                  <a:gd name="T6" fmla="*/ 195 w 467"/>
                  <a:gd name="T7" fmla="*/ 709 h 813"/>
                  <a:gd name="T8" fmla="*/ 156 w 467"/>
                  <a:gd name="T9" fmla="*/ 649 h 813"/>
                  <a:gd name="T10" fmla="*/ 116 w 467"/>
                  <a:gd name="T11" fmla="*/ 632 h 813"/>
                  <a:gd name="T12" fmla="*/ 116 w 467"/>
                  <a:gd name="T13" fmla="*/ 632 h 813"/>
                  <a:gd name="T14" fmla="*/ 112 w 467"/>
                  <a:gd name="T15" fmla="*/ 580 h 813"/>
                  <a:gd name="T16" fmla="*/ 111 w 467"/>
                  <a:gd name="T17" fmla="*/ 549 h 813"/>
                  <a:gd name="T18" fmla="*/ 128 w 467"/>
                  <a:gd name="T19" fmla="*/ 513 h 813"/>
                  <a:gd name="T20" fmla="*/ 103 w 467"/>
                  <a:gd name="T21" fmla="*/ 475 h 813"/>
                  <a:gd name="T22" fmla="*/ 123 w 467"/>
                  <a:gd name="T23" fmla="*/ 448 h 813"/>
                  <a:gd name="T24" fmla="*/ 87 w 467"/>
                  <a:gd name="T25" fmla="*/ 427 h 813"/>
                  <a:gd name="T26" fmla="*/ 22 w 467"/>
                  <a:gd name="T27" fmla="*/ 416 h 813"/>
                  <a:gd name="T28" fmla="*/ 18 w 467"/>
                  <a:gd name="T29" fmla="*/ 375 h 813"/>
                  <a:gd name="T30" fmla="*/ 58 w 467"/>
                  <a:gd name="T31" fmla="*/ 340 h 813"/>
                  <a:gd name="T32" fmla="*/ 28 w 467"/>
                  <a:gd name="T33" fmla="*/ 317 h 813"/>
                  <a:gd name="T34" fmla="*/ 34 w 467"/>
                  <a:gd name="T35" fmla="*/ 275 h 813"/>
                  <a:gd name="T36" fmla="*/ 43 w 467"/>
                  <a:gd name="T37" fmla="*/ 228 h 813"/>
                  <a:gd name="T38" fmla="*/ 62 w 467"/>
                  <a:gd name="T39" fmla="*/ 177 h 813"/>
                  <a:gd name="T40" fmla="*/ 38 w 467"/>
                  <a:gd name="T41" fmla="*/ 136 h 813"/>
                  <a:gd name="T42" fmla="*/ 19 w 467"/>
                  <a:gd name="T43" fmla="*/ 80 h 813"/>
                  <a:gd name="T44" fmla="*/ 12 w 467"/>
                  <a:gd name="T45" fmla="*/ 36 h 813"/>
                  <a:gd name="T46" fmla="*/ 23 w 467"/>
                  <a:gd name="T47" fmla="*/ 0 h 813"/>
                  <a:gd name="T48" fmla="*/ 27 w 467"/>
                  <a:gd name="T49" fmla="*/ 33 h 813"/>
                  <a:gd name="T50" fmla="*/ 60 w 467"/>
                  <a:gd name="T51" fmla="*/ 8 h 813"/>
                  <a:gd name="T52" fmla="*/ 94 w 467"/>
                  <a:gd name="T53" fmla="*/ 45 h 813"/>
                  <a:gd name="T54" fmla="*/ 163 w 467"/>
                  <a:gd name="T55" fmla="*/ 48 h 813"/>
                  <a:gd name="T56" fmla="*/ 143 w 467"/>
                  <a:gd name="T57" fmla="*/ 96 h 813"/>
                  <a:gd name="T58" fmla="*/ 128 w 467"/>
                  <a:gd name="T59" fmla="*/ 125 h 813"/>
                  <a:gd name="T60" fmla="*/ 128 w 467"/>
                  <a:gd name="T61" fmla="*/ 152 h 813"/>
                  <a:gd name="T62" fmla="*/ 180 w 467"/>
                  <a:gd name="T63" fmla="*/ 200 h 813"/>
                  <a:gd name="T64" fmla="*/ 184 w 467"/>
                  <a:gd name="T65" fmla="*/ 243 h 813"/>
                  <a:gd name="T66" fmla="*/ 160 w 467"/>
                  <a:gd name="T67" fmla="*/ 289 h 813"/>
                  <a:gd name="T68" fmla="*/ 170 w 467"/>
                  <a:gd name="T69" fmla="*/ 327 h 813"/>
                  <a:gd name="T70" fmla="*/ 176 w 467"/>
                  <a:gd name="T71" fmla="*/ 379 h 813"/>
                  <a:gd name="T72" fmla="*/ 218 w 467"/>
                  <a:gd name="T73" fmla="*/ 345 h 813"/>
                  <a:gd name="T74" fmla="*/ 271 w 467"/>
                  <a:gd name="T75" fmla="*/ 359 h 813"/>
                  <a:gd name="T76" fmla="*/ 286 w 467"/>
                  <a:gd name="T77" fmla="*/ 427 h 813"/>
                  <a:gd name="T78" fmla="*/ 374 w 467"/>
                  <a:gd name="T79" fmla="*/ 412 h 813"/>
                  <a:gd name="T80" fmla="*/ 413 w 467"/>
                  <a:gd name="T81" fmla="*/ 405 h 813"/>
                  <a:gd name="T82" fmla="*/ 465 w 467"/>
                  <a:gd name="T83" fmla="*/ 417 h 813"/>
                  <a:gd name="T84" fmla="*/ 467 w 467"/>
                  <a:gd name="T85" fmla="*/ 456 h 813"/>
                  <a:gd name="T86" fmla="*/ 431 w 467"/>
                  <a:gd name="T87" fmla="*/ 516 h 813"/>
                  <a:gd name="T88" fmla="*/ 407 w 467"/>
                  <a:gd name="T89" fmla="*/ 491 h 813"/>
                  <a:gd name="T90" fmla="*/ 393 w 467"/>
                  <a:gd name="T91" fmla="*/ 505 h 813"/>
                  <a:gd name="T92" fmla="*/ 356 w 467"/>
                  <a:gd name="T93" fmla="*/ 527 h 813"/>
                  <a:gd name="T94" fmla="*/ 358 w 467"/>
                  <a:gd name="T95" fmla="*/ 565 h 813"/>
                  <a:gd name="T96" fmla="*/ 340 w 467"/>
                  <a:gd name="T97" fmla="*/ 609 h 813"/>
                  <a:gd name="T98" fmla="*/ 310 w 467"/>
                  <a:gd name="T99" fmla="*/ 676 h 813"/>
                  <a:gd name="T100" fmla="*/ 339 w 467"/>
                  <a:gd name="T101" fmla="*/ 709 h 813"/>
                  <a:gd name="T102" fmla="*/ 335 w 467"/>
                  <a:gd name="T103" fmla="*/ 717 h 813"/>
                  <a:gd name="T104" fmla="*/ 276 w 467"/>
                  <a:gd name="T105" fmla="*/ 757 h 813"/>
                  <a:gd name="T106" fmla="*/ 244 w 467"/>
                  <a:gd name="T107" fmla="*/ 797 h 813"/>
                  <a:gd name="T108" fmla="*/ 179 w 467"/>
                  <a:gd name="T109" fmla="*/ 807 h 813"/>
                  <a:gd name="T110" fmla="*/ 166 w 467"/>
                  <a:gd name="T111" fmla="*/ 792 h 813"/>
                  <a:gd name="T112" fmla="*/ 106 w 467"/>
                  <a:gd name="T113" fmla="*/ 685 h 813"/>
                  <a:gd name="T114" fmla="*/ 122 w 467"/>
                  <a:gd name="T115" fmla="*/ 689 h 813"/>
                  <a:gd name="T116" fmla="*/ 118 w 467"/>
                  <a:gd name="T117" fmla="*/ 659 h 813"/>
                  <a:gd name="T118" fmla="*/ 108 w 467"/>
                  <a:gd name="T119" fmla="*/ 652 h 8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67" h="813">
                    <a:moveTo>
                      <a:pt x="166" y="792"/>
                    </a:moveTo>
                    <a:lnTo>
                      <a:pt x="154" y="797"/>
                    </a:lnTo>
                    <a:lnTo>
                      <a:pt x="154" y="797"/>
                    </a:lnTo>
                    <a:lnTo>
                      <a:pt x="180" y="772"/>
                    </a:lnTo>
                    <a:lnTo>
                      <a:pt x="199" y="761"/>
                    </a:lnTo>
                    <a:lnTo>
                      <a:pt x="196" y="744"/>
                    </a:lnTo>
                    <a:lnTo>
                      <a:pt x="210" y="741"/>
                    </a:lnTo>
                    <a:lnTo>
                      <a:pt x="195" y="709"/>
                    </a:lnTo>
                    <a:lnTo>
                      <a:pt x="188" y="677"/>
                    </a:lnTo>
                    <a:lnTo>
                      <a:pt x="156" y="649"/>
                    </a:lnTo>
                    <a:lnTo>
                      <a:pt x="132" y="652"/>
                    </a:lnTo>
                    <a:lnTo>
                      <a:pt x="116" y="632"/>
                    </a:lnTo>
                    <a:lnTo>
                      <a:pt x="108" y="636"/>
                    </a:lnTo>
                    <a:lnTo>
                      <a:pt x="116" y="632"/>
                    </a:lnTo>
                    <a:lnTo>
                      <a:pt x="135" y="608"/>
                    </a:lnTo>
                    <a:lnTo>
                      <a:pt x="112" y="580"/>
                    </a:lnTo>
                    <a:lnTo>
                      <a:pt x="111" y="567"/>
                    </a:lnTo>
                    <a:lnTo>
                      <a:pt x="111" y="549"/>
                    </a:lnTo>
                    <a:lnTo>
                      <a:pt x="132" y="532"/>
                    </a:lnTo>
                    <a:lnTo>
                      <a:pt x="128" y="513"/>
                    </a:lnTo>
                    <a:lnTo>
                      <a:pt x="96" y="499"/>
                    </a:lnTo>
                    <a:lnTo>
                      <a:pt x="103" y="475"/>
                    </a:lnTo>
                    <a:lnTo>
                      <a:pt x="126" y="459"/>
                    </a:lnTo>
                    <a:lnTo>
                      <a:pt x="123" y="448"/>
                    </a:lnTo>
                    <a:lnTo>
                      <a:pt x="96" y="447"/>
                    </a:lnTo>
                    <a:lnTo>
                      <a:pt x="87" y="427"/>
                    </a:lnTo>
                    <a:lnTo>
                      <a:pt x="62" y="413"/>
                    </a:lnTo>
                    <a:lnTo>
                      <a:pt x="22" y="416"/>
                    </a:lnTo>
                    <a:lnTo>
                      <a:pt x="26" y="388"/>
                    </a:lnTo>
                    <a:lnTo>
                      <a:pt x="18" y="375"/>
                    </a:lnTo>
                    <a:lnTo>
                      <a:pt x="23" y="359"/>
                    </a:lnTo>
                    <a:lnTo>
                      <a:pt x="58" y="340"/>
                    </a:lnTo>
                    <a:lnTo>
                      <a:pt x="59" y="331"/>
                    </a:lnTo>
                    <a:lnTo>
                      <a:pt x="28" y="317"/>
                    </a:lnTo>
                    <a:lnTo>
                      <a:pt x="27" y="293"/>
                    </a:lnTo>
                    <a:lnTo>
                      <a:pt x="34" y="275"/>
                    </a:lnTo>
                    <a:lnTo>
                      <a:pt x="58" y="257"/>
                    </a:lnTo>
                    <a:lnTo>
                      <a:pt x="43" y="228"/>
                    </a:lnTo>
                    <a:lnTo>
                      <a:pt x="68" y="204"/>
                    </a:lnTo>
                    <a:lnTo>
                      <a:pt x="62" y="177"/>
                    </a:lnTo>
                    <a:lnTo>
                      <a:pt x="35" y="165"/>
                    </a:lnTo>
                    <a:lnTo>
                      <a:pt x="38" y="136"/>
                    </a:lnTo>
                    <a:lnTo>
                      <a:pt x="15" y="113"/>
                    </a:lnTo>
                    <a:lnTo>
                      <a:pt x="19" y="80"/>
                    </a:lnTo>
                    <a:lnTo>
                      <a:pt x="2" y="53"/>
                    </a:lnTo>
                    <a:lnTo>
                      <a:pt x="12" y="36"/>
                    </a:lnTo>
                    <a:lnTo>
                      <a:pt x="0" y="17"/>
                    </a:lnTo>
                    <a:lnTo>
                      <a:pt x="23" y="0"/>
                    </a:lnTo>
                    <a:lnTo>
                      <a:pt x="26" y="11"/>
                    </a:lnTo>
                    <a:lnTo>
                      <a:pt x="27" y="33"/>
                    </a:lnTo>
                    <a:lnTo>
                      <a:pt x="43" y="43"/>
                    </a:lnTo>
                    <a:lnTo>
                      <a:pt x="60" y="8"/>
                    </a:lnTo>
                    <a:lnTo>
                      <a:pt x="80" y="24"/>
                    </a:lnTo>
                    <a:lnTo>
                      <a:pt x="94" y="45"/>
                    </a:lnTo>
                    <a:lnTo>
                      <a:pt x="130" y="37"/>
                    </a:lnTo>
                    <a:lnTo>
                      <a:pt x="163" y="48"/>
                    </a:lnTo>
                    <a:lnTo>
                      <a:pt x="163" y="61"/>
                    </a:lnTo>
                    <a:lnTo>
                      <a:pt x="143" y="96"/>
                    </a:lnTo>
                    <a:lnTo>
                      <a:pt x="123" y="100"/>
                    </a:lnTo>
                    <a:lnTo>
                      <a:pt x="128" y="125"/>
                    </a:lnTo>
                    <a:lnTo>
                      <a:pt x="115" y="141"/>
                    </a:lnTo>
                    <a:lnTo>
                      <a:pt x="128" y="152"/>
                    </a:lnTo>
                    <a:lnTo>
                      <a:pt x="123" y="179"/>
                    </a:lnTo>
                    <a:lnTo>
                      <a:pt x="180" y="200"/>
                    </a:lnTo>
                    <a:lnTo>
                      <a:pt x="203" y="233"/>
                    </a:lnTo>
                    <a:lnTo>
                      <a:pt x="184" y="243"/>
                    </a:lnTo>
                    <a:lnTo>
                      <a:pt x="176" y="284"/>
                    </a:lnTo>
                    <a:lnTo>
                      <a:pt x="160" y="289"/>
                    </a:lnTo>
                    <a:lnTo>
                      <a:pt x="143" y="307"/>
                    </a:lnTo>
                    <a:lnTo>
                      <a:pt x="170" y="327"/>
                    </a:lnTo>
                    <a:lnTo>
                      <a:pt x="159" y="341"/>
                    </a:lnTo>
                    <a:lnTo>
                      <a:pt x="176" y="379"/>
                    </a:lnTo>
                    <a:lnTo>
                      <a:pt x="207" y="364"/>
                    </a:lnTo>
                    <a:lnTo>
                      <a:pt x="218" y="345"/>
                    </a:lnTo>
                    <a:lnTo>
                      <a:pt x="235" y="357"/>
                    </a:lnTo>
                    <a:lnTo>
                      <a:pt x="271" y="359"/>
                    </a:lnTo>
                    <a:lnTo>
                      <a:pt x="271" y="409"/>
                    </a:lnTo>
                    <a:lnTo>
                      <a:pt x="286" y="427"/>
                    </a:lnTo>
                    <a:lnTo>
                      <a:pt x="327" y="424"/>
                    </a:lnTo>
                    <a:lnTo>
                      <a:pt x="374" y="412"/>
                    </a:lnTo>
                    <a:lnTo>
                      <a:pt x="391" y="395"/>
                    </a:lnTo>
                    <a:lnTo>
                      <a:pt x="413" y="405"/>
                    </a:lnTo>
                    <a:lnTo>
                      <a:pt x="450" y="403"/>
                    </a:lnTo>
                    <a:lnTo>
                      <a:pt x="465" y="417"/>
                    </a:lnTo>
                    <a:lnTo>
                      <a:pt x="465" y="417"/>
                    </a:lnTo>
                    <a:lnTo>
                      <a:pt x="467" y="456"/>
                    </a:lnTo>
                    <a:lnTo>
                      <a:pt x="437" y="488"/>
                    </a:lnTo>
                    <a:lnTo>
                      <a:pt x="431" y="516"/>
                    </a:lnTo>
                    <a:lnTo>
                      <a:pt x="423" y="515"/>
                    </a:lnTo>
                    <a:lnTo>
                      <a:pt x="407" y="491"/>
                    </a:lnTo>
                    <a:lnTo>
                      <a:pt x="397" y="491"/>
                    </a:lnTo>
                    <a:lnTo>
                      <a:pt x="393" y="505"/>
                    </a:lnTo>
                    <a:lnTo>
                      <a:pt x="355" y="511"/>
                    </a:lnTo>
                    <a:lnTo>
                      <a:pt x="356" y="527"/>
                    </a:lnTo>
                    <a:lnTo>
                      <a:pt x="339" y="543"/>
                    </a:lnTo>
                    <a:lnTo>
                      <a:pt x="358" y="565"/>
                    </a:lnTo>
                    <a:lnTo>
                      <a:pt x="360" y="595"/>
                    </a:lnTo>
                    <a:lnTo>
                      <a:pt x="340" y="609"/>
                    </a:lnTo>
                    <a:lnTo>
                      <a:pt x="339" y="671"/>
                    </a:lnTo>
                    <a:lnTo>
                      <a:pt x="310" y="676"/>
                    </a:lnTo>
                    <a:lnTo>
                      <a:pt x="312" y="689"/>
                    </a:lnTo>
                    <a:lnTo>
                      <a:pt x="339" y="709"/>
                    </a:lnTo>
                    <a:lnTo>
                      <a:pt x="340" y="709"/>
                    </a:lnTo>
                    <a:lnTo>
                      <a:pt x="335" y="717"/>
                    </a:lnTo>
                    <a:lnTo>
                      <a:pt x="306" y="728"/>
                    </a:lnTo>
                    <a:lnTo>
                      <a:pt x="276" y="757"/>
                    </a:lnTo>
                    <a:lnTo>
                      <a:pt x="260" y="792"/>
                    </a:lnTo>
                    <a:lnTo>
                      <a:pt x="244" y="797"/>
                    </a:lnTo>
                    <a:lnTo>
                      <a:pt x="232" y="813"/>
                    </a:lnTo>
                    <a:lnTo>
                      <a:pt x="179" y="807"/>
                    </a:lnTo>
                    <a:lnTo>
                      <a:pt x="166" y="792"/>
                    </a:lnTo>
                    <a:lnTo>
                      <a:pt x="166" y="792"/>
                    </a:lnTo>
                    <a:close/>
                    <a:moveTo>
                      <a:pt x="122" y="689"/>
                    </a:moveTo>
                    <a:lnTo>
                      <a:pt x="106" y="685"/>
                    </a:lnTo>
                    <a:lnTo>
                      <a:pt x="106" y="685"/>
                    </a:lnTo>
                    <a:lnTo>
                      <a:pt x="122" y="689"/>
                    </a:lnTo>
                    <a:lnTo>
                      <a:pt x="122" y="689"/>
                    </a:lnTo>
                    <a:close/>
                    <a:moveTo>
                      <a:pt x="118" y="659"/>
                    </a:moveTo>
                    <a:lnTo>
                      <a:pt x="118" y="659"/>
                    </a:lnTo>
                    <a:lnTo>
                      <a:pt x="108" y="652"/>
                    </a:lnTo>
                    <a:lnTo>
                      <a:pt x="118" y="659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1" name="Freeform 83"/>
              <p:cNvSpPr>
                <a:spLocks/>
              </p:cNvSpPr>
              <p:nvPr/>
            </p:nvSpPr>
            <p:spPr bwMode="gray">
              <a:xfrm>
                <a:off x="4185378" y="2407445"/>
                <a:ext cx="976344" cy="932066"/>
              </a:xfrm>
              <a:custGeom>
                <a:avLst/>
                <a:gdLst>
                  <a:gd name="T0" fmla="*/ 52 w 556"/>
                  <a:gd name="T1" fmla="*/ 449 h 548"/>
                  <a:gd name="T2" fmla="*/ 3 w 556"/>
                  <a:gd name="T3" fmla="*/ 421 h 548"/>
                  <a:gd name="T4" fmla="*/ 39 w 556"/>
                  <a:gd name="T5" fmla="*/ 381 h 548"/>
                  <a:gd name="T6" fmla="*/ 13 w 556"/>
                  <a:gd name="T7" fmla="*/ 329 h 548"/>
                  <a:gd name="T8" fmla="*/ 7 w 556"/>
                  <a:gd name="T9" fmla="*/ 291 h 548"/>
                  <a:gd name="T10" fmla="*/ 23 w 556"/>
                  <a:gd name="T11" fmla="*/ 257 h 548"/>
                  <a:gd name="T12" fmla="*/ 40 w 556"/>
                  <a:gd name="T13" fmla="*/ 304 h 548"/>
                  <a:gd name="T14" fmla="*/ 60 w 556"/>
                  <a:gd name="T15" fmla="*/ 365 h 548"/>
                  <a:gd name="T16" fmla="*/ 55 w 556"/>
                  <a:gd name="T17" fmla="*/ 399 h 548"/>
                  <a:gd name="T18" fmla="*/ 81 w 556"/>
                  <a:gd name="T19" fmla="*/ 323 h 548"/>
                  <a:gd name="T20" fmla="*/ 37 w 556"/>
                  <a:gd name="T21" fmla="*/ 228 h 548"/>
                  <a:gd name="T22" fmla="*/ 128 w 556"/>
                  <a:gd name="T23" fmla="*/ 175 h 548"/>
                  <a:gd name="T24" fmla="*/ 232 w 556"/>
                  <a:gd name="T25" fmla="*/ 116 h 548"/>
                  <a:gd name="T26" fmla="*/ 268 w 556"/>
                  <a:gd name="T27" fmla="*/ 97 h 548"/>
                  <a:gd name="T28" fmla="*/ 303 w 556"/>
                  <a:gd name="T29" fmla="*/ 85 h 548"/>
                  <a:gd name="T30" fmla="*/ 339 w 556"/>
                  <a:gd name="T31" fmla="*/ 71 h 548"/>
                  <a:gd name="T32" fmla="*/ 339 w 556"/>
                  <a:gd name="T33" fmla="*/ 0 h 548"/>
                  <a:gd name="T34" fmla="*/ 368 w 556"/>
                  <a:gd name="T35" fmla="*/ 29 h 548"/>
                  <a:gd name="T36" fmla="*/ 392 w 556"/>
                  <a:gd name="T37" fmla="*/ 56 h 548"/>
                  <a:gd name="T38" fmla="*/ 483 w 556"/>
                  <a:gd name="T39" fmla="*/ 47 h 548"/>
                  <a:gd name="T40" fmla="*/ 504 w 556"/>
                  <a:gd name="T41" fmla="*/ 104 h 548"/>
                  <a:gd name="T42" fmla="*/ 419 w 556"/>
                  <a:gd name="T43" fmla="*/ 240 h 548"/>
                  <a:gd name="T44" fmla="*/ 475 w 556"/>
                  <a:gd name="T45" fmla="*/ 180 h 548"/>
                  <a:gd name="T46" fmla="*/ 504 w 556"/>
                  <a:gd name="T47" fmla="*/ 173 h 548"/>
                  <a:gd name="T48" fmla="*/ 508 w 556"/>
                  <a:gd name="T49" fmla="*/ 240 h 548"/>
                  <a:gd name="T50" fmla="*/ 542 w 556"/>
                  <a:gd name="T51" fmla="*/ 285 h 548"/>
                  <a:gd name="T52" fmla="*/ 523 w 556"/>
                  <a:gd name="T53" fmla="*/ 352 h 548"/>
                  <a:gd name="T54" fmla="*/ 500 w 556"/>
                  <a:gd name="T55" fmla="*/ 392 h 548"/>
                  <a:gd name="T56" fmla="*/ 474 w 556"/>
                  <a:gd name="T57" fmla="*/ 417 h 548"/>
                  <a:gd name="T58" fmla="*/ 418 w 556"/>
                  <a:gd name="T59" fmla="*/ 429 h 548"/>
                  <a:gd name="T60" fmla="*/ 355 w 556"/>
                  <a:gd name="T61" fmla="*/ 407 h 548"/>
                  <a:gd name="T62" fmla="*/ 277 w 556"/>
                  <a:gd name="T63" fmla="*/ 455 h 548"/>
                  <a:gd name="T64" fmla="*/ 243 w 556"/>
                  <a:gd name="T65" fmla="*/ 499 h 548"/>
                  <a:gd name="T66" fmla="*/ 201 w 556"/>
                  <a:gd name="T67" fmla="*/ 540 h 548"/>
                  <a:gd name="T68" fmla="*/ 167 w 556"/>
                  <a:gd name="T69" fmla="*/ 537 h 548"/>
                  <a:gd name="T70" fmla="*/ 117 w 556"/>
                  <a:gd name="T71" fmla="*/ 524 h 548"/>
                  <a:gd name="T72" fmla="*/ 80 w 556"/>
                  <a:gd name="T73" fmla="*/ 543 h 548"/>
                  <a:gd name="T74" fmla="*/ 63 w 556"/>
                  <a:gd name="T75" fmla="*/ 511 h 5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556" h="548">
                    <a:moveTo>
                      <a:pt x="60" y="500"/>
                    </a:moveTo>
                    <a:lnTo>
                      <a:pt x="52" y="449"/>
                    </a:lnTo>
                    <a:lnTo>
                      <a:pt x="21" y="448"/>
                    </a:lnTo>
                    <a:lnTo>
                      <a:pt x="3" y="421"/>
                    </a:lnTo>
                    <a:lnTo>
                      <a:pt x="0" y="400"/>
                    </a:lnTo>
                    <a:lnTo>
                      <a:pt x="39" y="381"/>
                    </a:lnTo>
                    <a:lnTo>
                      <a:pt x="33" y="359"/>
                    </a:lnTo>
                    <a:lnTo>
                      <a:pt x="13" y="329"/>
                    </a:lnTo>
                    <a:lnTo>
                      <a:pt x="33" y="319"/>
                    </a:lnTo>
                    <a:lnTo>
                      <a:pt x="7" y="291"/>
                    </a:lnTo>
                    <a:lnTo>
                      <a:pt x="7" y="265"/>
                    </a:lnTo>
                    <a:lnTo>
                      <a:pt x="23" y="257"/>
                    </a:lnTo>
                    <a:lnTo>
                      <a:pt x="25" y="277"/>
                    </a:lnTo>
                    <a:lnTo>
                      <a:pt x="40" y="304"/>
                    </a:lnTo>
                    <a:lnTo>
                      <a:pt x="69" y="331"/>
                    </a:lnTo>
                    <a:lnTo>
                      <a:pt x="60" y="365"/>
                    </a:lnTo>
                    <a:lnTo>
                      <a:pt x="72" y="381"/>
                    </a:lnTo>
                    <a:lnTo>
                      <a:pt x="55" y="399"/>
                    </a:lnTo>
                    <a:lnTo>
                      <a:pt x="79" y="396"/>
                    </a:lnTo>
                    <a:lnTo>
                      <a:pt x="81" y="323"/>
                    </a:lnTo>
                    <a:lnTo>
                      <a:pt x="52" y="277"/>
                    </a:lnTo>
                    <a:lnTo>
                      <a:pt x="37" y="228"/>
                    </a:lnTo>
                    <a:lnTo>
                      <a:pt x="132" y="228"/>
                    </a:lnTo>
                    <a:lnTo>
                      <a:pt x="128" y="175"/>
                    </a:lnTo>
                    <a:lnTo>
                      <a:pt x="179" y="127"/>
                    </a:lnTo>
                    <a:lnTo>
                      <a:pt x="232" y="116"/>
                    </a:lnTo>
                    <a:lnTo>
                      <a:pt x="241" y="97"/>
                    </a:lnTo>
                    <a:lnTo>
                      <a:pt x="268" y="97"/>
                    </a:lnTo>
                    <a:lnTo>
                      <a:pt x="268" y="116"/>
                    </a:lnTo>
                    <a:lnTo>
                      <a:pt x="303" y="85"/>
                    </a:lnTo>
                    <a:lnTo>
                      <a:pt x="303" y="71"/>
                    </a:lnTo>
                    <a:lnTo>
                      <a:pt x="339" y="71"/>
                    </a:lnTo>
                    <a:lnTo>
                      <a:pt x="320" y="35"/>
                    </a:lnTo>
                    <a:lnTo>
                      <a:pt x="339" y="0"/>
                    </a:lnTo>
                    <a:lnTo>
                      <a:pt x="385" y="5"/>
                    </a:lnTo>
                    <a:lnTo>
                      <a:pt x="368" y="29"/>
                    </a:lnTo>
                    <a:lnTo>
                      <a:pt x="395" y="27"/>
                    </a:lnTo>
                    <a:lnTo>
                      <a:pt x="392" y="56"/>
                    </a:lnTo>
                    <a:lnTo>
                      <a:pt x="424" y="37"/>
                    </a:lnTo>
                    <a:lnTo>
                      <a:pt x="483" y="47"/>
                    </a:lnTo>
                    <a:lnTo>
                      <a:pt x="490" y="76"/>
                    </a:lnTo>
                    <a:lnTo>
                      <a:pt x="504" y="104"/>
                    </a:lnTo>
                    <a:lnTo>
                      <a:pt x="456" y="175"/>
                    </a:lnTo>
                    <a:lnTo>
                      <a:pt x="419" y="240"/>
                    </a:lnTo>
                    <a:lnTo>
                      <a:pt x="492" y="192"/>
                    </a:lnTo>
                    <a:lnTo>
                      <a:pt x="475" y="180"/>
                    </a:lnTo>
                    <a:lnTo>
                      <a:pt x="498" y="159"/>
                    </a:lnTo>
                    <a:lnTo>
                      <a:pt x="504" y="173"/>
                    </a:lnTo>
                    <a:lnTo>
                      <a:pt x="498" y="205"/>
                    </a:lnTo>
                    <a:lnTo>
                      <a:pt x="508" y="240"/>
                    </a:lnTo>
                    <a:lnTo>
                      <a:pt x="539" y="264"/>
                    </a:lnTo>
                    <a:lnTo>
                      <a:pt x="542" y="285"/>
                    </a:lnTo>
                    <a:lnTo>
                      <a:pt x="556" y="307"/>
                    </a:lnTo>
                    <a:lnTo>
                      <a:pt x="523" y="352"/>
                    </a:lnTo>
                    <a:lnTo>
                      <a:pt x="523" y="388"/>
                    </a:lnTo>
                    <a:lnTo>
                      <a:pt x="500" y="392"/>
                    </a:lnTo>
                    <a:lnTo>
                      <a:pt x="474" y="419"/>
                    </a:lnTo>
                    <a:lnTo>
                      <a:pt x="474" y="417"/>
                    </a:lnTo>
                    <a:lnTo>
                      <a:pt x="455" y="425"/>
                    </a:lnTo>
                    <a:lnTo>
                      <a:pt x="418" y="429"/>
                    </a:lnTo>
                    <a:lnTo>
                      <a:pt x="372" y="421"/>
                    </a:lnTo>
                    <a:lnTo>
                      <a:pt x="355" y="407"/>
                    </a:lnTo>
                    <a:lnTo>
                      <a:pt x="337" y="423"/>
                    </a:lnTo>
                    <a:lnTo>
                      <a:pt x="277" y="455"/>
                    </a:lnTo>
                    <a:lnTo>
                      <a:pt x="263" y="493"/>
                    </a:lnTo>
                    <a:lnTo>
                      <a:pt x="243" y="499"/>
                    </a:lnTo>
                    <a:lnTo>
                      <a:pt x="220" y="532"/>
                    </a:lnTo>
                    <a:lnTo>
                      <a:pt x="201" y="540"/>
                    </a:lnTo>
                    <a:lnTo>
                      <a:pt x="200" y="548"/>
                    </a:lnTo>
                    <a:lnTo>
                      <a:pt x="167" y="537"/>
                    </a:lnTo>
                    <a:lnTo>
                      <a:pt x="131" y="545"/>
                    </a:lnTo>
                    <a:lnTo>
                      <a:pt x="117" y="524"/>
                    </a:lnTo>
                    <a:lnTo>
                      <a:pt x="97" y="508"/>
                    </a:lnTo>
                    <a:lnTo>
                      <a:pt x="80" y="543"/>
                    </a:lnTo>
                    <a:lnTo>
                      <a:pt x="64" y="533"/>
                    </a:lnTo>
                    <a:lnTo>
                      <a:pt x="63" y="511"/>
                    </a:lnTo>
                    <a:lnTo>
                      <a:pt x="60" y="500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2" name="Freeform 112"/>
              <p:cNvSpPr>
                <a:spLocks/>
              </p:cNvSpPr>
              <p:nvPr/>
            </p:nvSpPr>
            <p:spPr bwMode="gray">
              <a:xfrm>
                <a:off x="4712183" y="2256070"/>
                <a:ext cx="103604" cy="137769"/>
              </a:xfrm>
              <a:custGeom>
                <a:avLst/>
                <a:gdLst>
                  <a:gd name="T0" fmla="*/ 0 w 59"/>
                  <a:gd name="T1" fmla="*/ 13 h 81"/>
                  <a:gd name="T2" fmla="*/ 23 w 59"/>
                  <a:gd name="T3" fmla="*/ 0 h 81"/>
                  <a:gd name="T4" fmla="*/ 24 w 59"/>
                  <a:gd name="T5" fmla="*/ 24 h 81"/>
                  <a:gd name="T6" fmla="*/ 39 w 59"/>
                  <a:gd name="T7" fmla="*/ 14 h 81"/>
                  <a:gd name="T8" fmla="*/ 59 w 59"/>
                  <a:gd name="T9" fmla="*/ 44 h 81"/>
                  <a:gd name="T10" fmla="*/ 0 w 59"/>
                  <a:gd name="T11" fmla="*/ 81 h 81"/>
                  <a:gd name="T12" fmla="*/ 0 w 59"/>
                  <a:gd name="T13" fmla="*/ 13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" h="81">
                    <a:moveTo>
                      <a:pt x="0" y="13"/>
                    </a:moveTo>
                    <a:lnTo>
                      <a:pt x="23" y="0"/>
                    </a:lnTo>
                    <a:lnTo>
                      <a:pt x="24" y="24"/>
                    </a:lnTo>
                    <a:lnTo>
                      <a:pt x="39" y="14"/>
                    </a:lnTo>
                    <a:lnTo>
                      <a:pt x="59" y="44"/>
                    </a:lnTo>
                    <a:lnTo>
                      <a:pt x="0" y="81"/>
                    </a:lnTo>
                    <a:lnTo>
                      <a:pt x="0" y="13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3" name="Freeform 113"/>
              <p:cNvSpPr>
                <a:spLocks/>
              </p:cNvSpPr>
              <p:nvPr/>
            </p:nvSpPr>
            <p:spPr bwMode="gray">
              <a:xfrm>
                <a:off x="4587506" y="2208446"/>
                <a:ext cx="96580" cy="117359"/>
              </a:xfrm>
              <a:custGeom>
                <a:avLst/>
                <a:gdLst>
                  <a:gd name="T0" fmla="*/ 0 w 55"/>
                  <a:gd name="T1" fmla="*/ 37 h 69"/>
                  <a:gd name="T2" fmla="*/ 6 w 55"/>
                  <a:gd name="T3" fmla="*/ 16 h 69"/>
                  <a:gd name="T4" fmla="*/ 31 w 55"/>
                  <a:gd name="T5" fmla="*/ 0 h 69"/>
                  <a:gd name="T6" fmla="*/ 32 w 55"/>
                  <a:gd name="T7" fmla="*/ 18 h 69"/>
                  <a:gd name="T8" fmla="*/ 52 w 55"/>
                  <a:gd name="T9" fmla="*/ 4 h 69"/>
                  <a:gd name="T10" fmla="*/ 55 w 55"/>
                  <a:gd name="T11" fmla="*/ 45 h 69"/>
                  <a:gd name="T12" fmla="*/ 52 w 55"/>
                  <a:gd name="T13" fmla="*/ 69 h 69"/>
                  <a:gd name="T14" fmla="*/ 0 w 55"/>
                  <a:gd name="T15" fmla="*/ 37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5" h="69">
                    <a:moveTo>
                      <a:pt x="0" y="37"/>
                    </a:moveTo>
                    <a:lnTo>
                      <a:pt x="6" y="16"/>
                    </a:lnTo>
                    <a:lnTo>
                      <a:pt x="31" y="0"/>
                    </a:lnTo>
                    <a:lnTo>
                      <a:pt x="32" y="18"/>
                    </a:lnTo>
                    <a:lnTo>
                      <a:pt x="52" y="4"/>
                    </a:lnTo>
                    <a:lnTo>
                      <a:pt x="55" y="45"/>
                    </a:lnTo>
                    <a:lnTo>
                      <a:pt x="52" y="69"/>
                    </a:lnTo>
                    <a:lnTo>
                      <a:pt x="0" y="37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4" name="Freeform 114"/>
              <p:cNvSpPr>
                <a:spLocks/>
              </p:cNvSpPr>
              <p:nvPr/>
            </p:nvSpPr>
            <p:spPr bwMode="gray">
              <a:xfrm>
                <a:off x="4555898" y="2087686"/>
                <a:ext cx="84289" cy="127564"/>
              </a:xfrm>
              <a:custGeom>
                <a:avLst/>
                <a:gdLst>
                  <a:gd name="T0" fmla="*/ 0 w 48"/>
                  <a:gd name="T1" fmla="*/ 64 h 75"/>
                  <a:gd name="T2" fmla="*/ 14 w 48"/>
                  <a:gd name="T3" fmla="*/ 75 h 75"/>
                  <a:gd name="T4" fmla="*/ 48 w 48"/>
                  <a:gd name="T5" fmla="*/ 56 h 75"/>
                  <a:gd name="T6" fmla="*/ 48 w 48"/>
                  <a:gd name="T7" fmla="*/ 23 h 75"/>
                  <a:gd name="T8" fmla="*/ 29 w 48"/>
                  <a:gd name="T9" fmla="*/ 0 h 75"/>
                  <a:gd name="T10" fmla="*/ 4 w 48"/>
                  <a:gd name="T11" fmla="*/ 19 h 75"/>
                  <a:gd name="T12" fmla="*/ 0 w 48"/>
                  <a:gd name="T13" fmla="*/ 64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75">
                    <a:moveTo>
                      <a:pt x="0" y="64"/>
                    </a:moveTo>
                    <a:lnTo>
                      <a:pt x="14" y="75"/>
                    </a:lnTo>
                    <a:lnTo>
                      <a:pt x="48" y="56"/>
                    </a:lnTo>
                    <a:lnTo>
                      <a:pt x="48" y="23"/>
                    </a:lnTo>
                    <a:lnTo>
                      <a:pt x="29" y="0"/>
                    </a:lnTo>
                    <a:lnTo>
                      <a:pt x="4" y="19"/>
                    </a:lnTo>
                    <a:lnTo>
                      <a:pt x="0" y="64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grpSp>
          <p:nvGrpSpPr>
            <p:cNvPr id="132" name="Группа 131"/>
            <p:cNvGrpSpPr/>
            <p:nvPr/>
          </p:nvGrpSpPr>
          <p:grpSpPr>
            <a:xfrm>
              <a:off x="3517526" y="3874056"/>
              <a:ext cx="171450" cy="171450"/>
              <a:chOff x="1333500" y="2495321"/>
              <a:chExt cx="171450" cy="171450"/>
            </a:xfrm>
          </p:grpSpPr>
          <p:sp>
            <p:nvSpPr>
              <p:cNvPr id="130" name="Капля 129"/>
              <p:cNvSpPr/>
              <p:nvPr/>
            </p:nvSpPr>
            <p:spPr>
              <a:xfrm rot="8100000">
                <a:off x="1333500" y="2495321"/>
                <a:ext cx="171450" cy="171450"/>
              </a:xfrm>
              <a:prstGeom prst="teardrop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1" name="Овал 130"/>
              <p:cNvSpPr/>
              <p:nvPr/>
            </p:nvSpPr>
            <p:spPr>
              <a:xfrm>
                <a:off x="1364052" y="2528984"/>
                <a:ext cx="105321" cy="105321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grpSp>
          <p:nvGrpSpPr>
            <p:cNvPr id="133" name="Группа 132"/>
            <p:cNvGrpSpPr/>
            <p:nvPr/>
          </p:nvGrpSpPr>
          <p:grpSpPr>
            <a:xfrm>
              <a:off x="3111977" y="4288663"/>
              <a:ext cx="171450" cy="171450"/>
              <a:chOff x="1333500" y="2495321"/>
              <a:chExt cx="171450" cy="171450"/>
            </a:xfrm>
          </p:grpSpPr>
          <p:sp>
            <p:nvSpPr>
              <p:cNvPr id="134" name="Капля 133"/>
              <p:cNvSpPr/>
              <p:nvPr/>
            </p:nvSpPr>
            <p:spPr>
              <a:xfrm rot="8100000">
                <a:off x="1333500" y="2495321"/>
                <a:ext cx="171450" cy="171450"/>
              </a:xfrm>
              <a:prstGeom prst="teardrop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5" name="Овал 134"/>
              <p:cNvSpPr/>
              <p:nvPr/>
            </p:nvSpPr>
            <p:spPr>
              <a:xfrm>
                <a:off x="1366704" y="2525375"/>
                <a:ext cx="105321" cy="105321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grpSp>
          <p:nvGrpSpPr>
            <p:cNvPr id="137" name="Группа 136"/>
            <p:cNvGrpSpPr/>
            <p:nvPr/>
          </p:nvGrpSpPr>
          <p:grpSpPr>
            <a:xfrm>
              <a:off x="5022073" y="4366462"/>
              <a:ext cx="171450" cy="171450"/>
              <a:chOff x="1333048" y="2573120"/>
              <a:chExt cx="171450" cy="171450"/>
            </a:xfrm>
          </p:grpSpPr>
          <p:sp>
            <p:nvSpPr>
              <p:cNvPr id="138" name="Капля 137"/>
              <p:cNvSpPr/>
              <p:nvPr/>
            </p:nvSpPr>
            <p:spPr>
              <a:xfrm rot="8100000">
                <a:off x="1333048" y="2573120"/>
                <a:ext cx="171450" cy="171450"/>
              </a:xfrm>
              <a:prstGeom prst="teardrop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9" name="Овал 138"/>
              <p:cNvSpPr/>
              <p:nvPr/>
            </p:nvSpPr>
            <p:spPr>
              <a:xfrm>
                <a:off x="1363526" y="2597911"/>
                <a:ext cx="105321" cy="105321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grpSp>
          <p:nvGrpSpPr>
            <p:cNvPr id="140" name="Группа 139"/>
            <p:cNvGrpSpPr/>
            <p:nvPr/>
          </p:nvGrpSpPr>
          <p:grpSpPr>
            <a:xfrm>
              <a:off x="4982435" y="3575485"/>
              <a:ext cx="171450" cy="171450"/>
              <a:chOff x="1344332" y="2469075"/>
              <a:chExt cx="171450" cy="171450"/>
            </a:xfrm>
          </p:grpSpPr>
          <p:sp>
            <p:nvSpPr>
              <p:cNvPr id="141" name="Капля 140"/>
              <p:cNvSpPr/>
              <p:nvPr/>
            </p:nvSpPr>
            <p:spPr>
              <a:xfrm rot="8100000">
                <a:off x="1344332" y="2469075"/>
                <a:ext cx="171450" cy="171450"/>
              </a:xfrm>
              <a:prstGeom prst="teardrop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42" name="Овал 141"/>
              <p:cNvSpPr/>
              <p:nvPr/>
            </p:nvSpPr>
            <p:spPr>
              <a:xfrm>
                <a:off x="1378718" y="2500360"/>
                <a:ext cx="105321" cy="105321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</p:grpSp>
      <p:sp>
        <p:nvSpPr>
          <p:cNvPr id="145" name="Выноска 1 144"/>
          <p:cNvSpPr/>
          <p:nvPr/>
        </p:nvSpPr>
        <p:spPr>
          <a:xfrm>
            <a:off x="471849" y="5360171"/>
            <a:ext cx="3052102" cy="868543"/>
          </a:xfrm>
          <a:prstGeom prst="borderCallout1">
            <a:avLst>
              <a:gd name="adj1" fmla="val 46355"/>
              <a:gd name="adj2" fmla="val -7656"/>
              <a:gd name="adj3" fmla="val -34105"/>
              <a:gd name="adj4" fmla="val -7193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r"/>
            <a:endParaRPr lang="en-US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r"/>
            <a:endParaRPr lang="en-US" sz="1000" b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84995" name="Группа 84994"/>
          <p:cNvGrpSpPr/>
          <p:nvPr/>
        </p:nvGrpSpPr>
        <p:grpSpPr>
          <a:xfrm>
            <a:off x="10206610" y="3637797"/>
            <a:ext cx="2802156" cy="1903343"/>
            <a:chOff x="5093857" y="1325728"/>
            <a:chExt cx="2802156" cy="4579172"/>
          </a:xfrm>
        </p:grpSpPr>
        <p:sp>
          <p:nvSpPr>
            <p:cNvPr id="164" name="Прямоугольник 163"/>
            <p:cNvSpPr/>
            <p:nvPr/>
          </p:nvSpPr>
          <p:spPr>
            <a:xfrm>
              <a:off x="5155282" y="1325728"/>
              <a:ext cx="2112651" cy="666420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endParaRPr lang="en-GB" sz="1200" dirty="0">
                <a:solidFill>
                  <a:srgbClr val="004C97"/>
                </a:solidFill>
                <a:latin typeface="Tahoma" panose="020B0604030504040204" pitchFamily="34" charset="0"/>
              </a:endParaRPr>
            </a:p>
          </p:txBody>
        </p:sp>
        <p:sp>
          <p:nvSpPr>
            <p:cNvPr id="165" name="Прямоугольник 164"/>
            <p:cNvSpPr/>
            <p:nvPr/>
          </p:nvSpPr>
          <p:spPr>
            <a:xfrm>
              <a:off x="5161321" y="3292868"/>
              <a:ext cx="2734692" cy="666420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endParaRPr lang="en-US" sz="1200" dirty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66" name="Прямоугольник 165"/>
            <p:cNvSpPr/>
            <p:nvPr/>
          </p:nvSpPr>
          <p:spPr>
            <a:xfrm>
              <a:off x="5093857" y="5238480"/>
              <a:ext cx="2073079" cy="666420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endParaRPr lang="en-US" sz="1200" dirty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pic>
        <p:nvPicPr>
          <p:cNvPr id="163" name="Рисунок 16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2799" y="4645081"/>
            <a:ext cx="2055961" cy="1430209"/>
          </a:xfrm>
          <a:prstGeom prst="rect">
            <a:avLst/>
          </a:prstGeom>
        </p:spPr>
      </p:pic>
      <p:pic>
        <p:nvPicPr>
          <p:cNvPr id="167" name="Рисунок 16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5422" y="4674315"/>
            <a:ext cx="2025618" cy="1391184"/>
          </a:xfrm>
          <a:prstGeom prst="rect">
            <a:avLst/>
          </a:prstGeom>
        </p:spPr>
      </p:pic>
      <p:pic>
        <p:nvPicPr>
          <p:cNvPr id="168" name="Рисунок 167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7701" y="4678766"/>
            <a:ext cx="2025618" cy="1391184"/>
          </a:xfrm>
          <a:prstGeom prst="rect">
            <a:avLst/>
          </a:prstGeom>
        </p:spPr>
      </p:pic>
      <p:sp>
        <p:nvSpPr>
          <p:cNvPr id="175" name="Капля 174"/>
          <p:cNvSpPr/>
          <p:nvPr/>
        </p:nvSpPr>
        <p:spPr>
          <a:xfrm rot="8100000">
            <a:off x="2223086" y="2144420"/>
            <a:ext cx="262180" cy="250518"/>
          </a:xfrm>
          <a:prstGeom prst="teardrop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6" name="Овал 175"/>
          <p:cNvSpPr/>
          <p:nvPr/>
        </p:nvSpPr>
        <p:spPr>
          <a:xfrm>
            <a:off x="2262541" y="2218095"/>
            <a:ext cx="161056" cy="15389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0" name="Прямоугольник 312"/>
          <p:cNvSpPr/>
          <p:nvPr/>
        </p:nvSpPr>
        <p:spPr bwMode="auto">
          <a:xfrm>
            <a:off x="350519" y="4090178"/>
            <a:ext cx="2700000" cy="710221"/>
          </a:xfrm>
          <a:prstGeom prst="rect">
            <a:avLst/>
          </a:prstGeom>
          <a:solidFill>
            <a:schemeClr val="bg1"/>
          </a:solidFill>
          <a:ln w="15875">
            <a:solidFill>
              <a:srgbClr val="0077C8"/>
            </a:solidFill>
          </a:ln>
          <a:effectLst/>
          <a:extLst/>
        </p:spPr>
        <p:txBody>
          <a:bodyPr vert="horz" wrap="square" lIns="36000" tIns="0" rIns="36000" bIns="72000" numCol="1" rtlCol="0" anchor="b" anchorCtr="0" compatLnSpc="1">
            <a:prstTxWarp prst="textNoShape">
              <a:avLst/>
            </a:prstTxWarp>
          </a:bodyPr>
          <a:lstStyle/>
          <a:p>
            <a:pPr marL="171450" indent="-171450" defTabSz="813799">
              <a:buClr>
                <a:srgbClr val="004C97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150" dirty="0" smtClean="0">
                <a:solidFill>
                  <a:srgbClr val="004C97"/>
                </a:solidFill>
                <a:latin typeface="Tahoma" panose="020B0604030504040204" pitchFamily="34" charset="0"/>
              </a:rPr>
              <a:t>22</a:t>
            </a:r>
            <a:r>
              <a:rPr lang="ru-RU" sz="1150" dirty="0" smtClean="0">
                <a:solidFill>
                  <a:srgbClr val="004C97"/>
                </a:solidFill>
                <a:latin typeface="Tahoma" panose="020B0604030504040204" pitchFamily="34" charset="0"/>
              </a:rPr>
              <a:t>-</a:t>
            </a:r>
            <a:r>
              <a:rPr lang="ru-RU" sz="1150" dirty="0" err="1" smtClean="0">
                <a:solidFill>
                  <a:srgbClr val="004C97"/>
                </a:solidFill>
                <a:latin typeface="Tahoma" panose="020B0604030504040204" pitchFamily="34" charset="0"/>
              </a:rPr>
              <a:t>ые</a:t>
            </a:r>
            <a:r>
              <a:rPr lang="en-US" sz="1150" dirty="0" smtClean="0">
                <a:solidFill>
                  <a:srgbClr val="004C97"/>
                </a:solidFill>
                <a:latin typeface="Tahoma" panose="020B0604030504040204" pitchFamily="34" charset="0"/>
              </a:rPr>
              <a:t> </a:t>
            </a:r>
            <a:r>
              <a:rPr lang="ru-RU" sz="1150" dirty="0" smtClean="0">
                <a:solidFill>
                  <a:srgbClr val="004C97"/>
                </a:solidFill>
                <a:latin typeface="Tahoma" panose="020B0604030504040204" pitchFamily="34" charset="0"/>
              </a:rPr>
              <a:t>Олимпийские игры в</a:t>
            </a:r>
            <a:r>
              <a:rPr lang="en-US" sz="1150" dirty="0" smtClean="0">
                <a:solidFill>
                  <a:srgbClr val="004C97"/>
                </a:solidFill>
                <a:latin typeface="Tahoma" panose="020B0604030504040204" pitchFamily="34" charset="0"/>
              </a:rPr>
              <a:t> </a:t>
            </a:r>
            <a:r>
              <a:rPr lang="en-US" sz="1150" dirty="0">
                <a:solidFill>
                  <a:srgbClr val="004C97"/>
                </a:solidFill>
                <a:latin typeface="Tahoma" panose="020B0604030504040204" pitchFamily="34" charset="0"/>
              </a:rPr>
              <a:t>2014 </a:t>
            </a:r>
            <a:r>
              <a:rPr lang="ru-RU" sz="1150" dirty="0" smtClean="0">
                <a:solidFill>
                  <a:srgbClr val="004C97"/>
                </a:solidFill>
                <a:latin typeface="Tahoma" panose="020B0604030504040204" pitchFamily="34" charset="0"/>
              </a:rPr>
              <a:t>г.</a:t>
            </a:r>
            <a:endParaRPr lang="en-US" sz="1150" dirty="0">
              <a:solidFill>
                <a:srgbClr val="004C97"/>
              </a:solidFill>
              <a:latin typeface="Tahoma" panose="020B0604030504040204" pitchFamily="34" charset="0"/>
            </a:endParaRPr>
          </a:p>
          <a:p>
            <a:pPr marL="171450" indent="-171450" defTabSz="813799">
              <a:buClr>
                <a:srgbClr val="004C97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ru-RU" sz="1150" dirty="0" smtClean="0">
                <a:solidFill>
                  <a:srgbClr val="004C97"/>
                </a:solidFill>
                <a:latin typeface="Tahoma" panose="020B0604030504040204" pitchFamily="34" charset="0"/>
              </a:rPr>
              <a:t>Горнолыжный курорт Роза Хутор</a:t>
            </a:r>
            <a:endParaRPr lang="en-US" sz="1150" dirty="0">
              <a:solidFill>
                <a:srgbClr val="004C97"/>
              </a:solidFill>
              <a:latin typeface="Tahoma" panose="020B0604030504040204" pitchFamily="34" charset="0"/>
            </a:endParaRPr>
          </a:p>
          <a:p>
            <a:pPr marL="171450" indent="-171450" defTabSz="813799">
              <a:buClr>
                <a:srgbClr val="004C97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ru-RU" sz="1150" dirty="0" smtClean="0">
                <a:solidFill>
                  <a:srgbClr val="004C97"/>
                </a:solidFill>
                <a:latin typeface="Tahoma" panose="020B0604030504040204" pitchFamily="34" charset="0"/>
              </a:rPr>
              <a:t>Санаторий Заполярье</a:t>
            </a:r>
            <a:endParaRPr lang="en-US" sz="1150" dirty="0">
              <a:solidFill>
                <a:srgbClr val="004C97"/>
              </a:solidFill>
              <a:latin typeface="Tahoma" panose="020B0604030504040204" pitchFamily="34" charset="0"/>
            </a:endParaRPr>
          </a:p>
        </p:txBody>
      </p:sp>
      <p:sp>
        <p:nvSpPr>
          <p:cNvPr id="174" name="Прямоугольник 24"/>
          <p:cNvSpPr/>
          <p:nvPr/>
        </p:nvSpPr>
        <p:spPr>
          <a:xfrm>
            <a:off x="2330519" y="3875927"/>
            <a:ext cx="720000" cy="216000"/>
          </a:xfrm>
          <a:prstGeom prst="rect">
            <a:avLst/>
          </a:prstGeom>
          <a:solidFill>
            <a:srgbClr val="0077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solidFill>
                  <a:prstClr val="white"/>
                </a:solidFill>
                <a:latin typeface="Tahoma" panose="020B0604030504040204" pitchFamily="34" charset="0"/>
              </a:rPr>
              <a:t>СОЧИ</a:t>
            </a:r>
            <a:endParaRPr lang="en-GB" sz="1000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81" name="Прямоугольник 312"/>
          <p:cNvSpPr/>
          <p:nvPr/>
        </p:nvSpPr>
        <p:spPr bwMode="auto">
          <a:xfrm>
            <a:off x="1811213" y="2727436"/>
            <a:ext cx="2757190" cy="1111742"/>
          </a:xfrm>
          <a:prstGeom prst="rect">
            <a:avLst/>
          </a:prstGeom>
          <a:solidFill>
            <a:schemeClr val="bg1"/>
          </a:solidFill>
          <a:ln w="15875">
            <a:solidFill>
              <a:srgbClr val="0077C8"/>
            </a:solidFill>
          </a:ln>
          <a:effectLst/>
          <a:extLst/>
        </p:spPr>
        <p:txBody>
          <a:bodyPr vert="horz" wrap="square" lIns="36000" tIns="0" rIns="36000" bIns="72000" numCol="1" rtlCol="0" anchor="b" anchorCtr="0" compatLnSpc="1">
            <a:prstTxWarp prst="textNoShape">
              <a:avLst/>
            </a:prstTxWarp>
          </a:bodyPr>
          <a:lstStyle/>
          <a:p>
            <a:pPr marL="171450" indent="-171450" defTabSz="813799">
              <a:buClr>
                <a:srgbClr val="004C97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ru-RU" sz="1150" dirty="0" smtClean="0">
                <a:solidFill>
                  <a:srgbClr val="004C97"/>
                </a:solidFill>
                <a:latin typeface="Tahoma" panose="020B0604030504040204" pitchFamily="34" charset="0"/>
              </a:rPr>
              <a:t>Олимпийский комитет России</a:t>
            </a:r>
            <a:r>
              <a:rPr lang="en-US" sz="1150" dirty="0" smtClean="0">
                <a:solidFill>
                  <a:srgbClr val="004C97"/>
                </a:solidFill>
                <a:latin typeface="Tahoma" panose="020B0604030504040204" pitchFamily="34" charset="0"/>
              </a:rPr>
              <a:t> </a:t>
            </a:r>
            <a:endParaRPr lang="en-US" sz="1150" dirty="0">
              <a:solidFill>
                <a:srgbClr val="004C97"/>
              </a:solidFill>
              <a:latin typeface="Tahoma" panose="020B0604030504040204" pitchFamily="34" charset="0"/>
            </a:endParaRPr>
          </a:p>
          <a:p>
            <a:pPr marL="171450" indent="-171450" defTabSz="813799">
              <a:buClr>
                <a:srgbClr val="004C97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ru-RU" sz="1150" dirty="0" smtClean="0">
                <a:solidFill>
                  <a:srgbClr val="004C97"/>
                </a:solidFill>
                <a:latin typeface="Tahoma" panose="020B0604030504040204" pitchFamily="34" charset="0"/>
              </a:rPr>
              <a:t>Федерация Хоккея России </a:t>
            </a:r>
            <a:r>
              <a:rPr lang="en-US" sz="1150" dirty="0" smtClean="0">
                <a:solidFill>
                  <a:srgbClr val="004C97"/>
                </a:solidFill>
                <a:latin typeface="Tahoma" panose="020B0604030504040204" pitchFamily="34" charset="0"/>
              </a:rPr>
              <a:t> </a:t>
            </a:r>
            <a:endParaRPr lang="en-US" sz="1150" dirty="0">
              <a:solidFill>
                <a:srgbClr val="004C97"/>
              </a:solidFill>
              <a:latin typeface="Tahoma" panose="020B0604030504040204" pitchFamily="34" charset="0"/>
            </a:endParaRPr>
          </a:p>
          <a:p>
            <a:pPr marL="171450" indent="-171450" defTabSz="813799">
              <a:buClr>
                <a:srgbClr val="004C97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ru-RU" sz="1150" dirty="0" smtClean="0">
                <a:solidFill>
                  <a:srgbClr val="004C97"/>
                </a:solidFill>
                <a:latin typeface="Tahoma" panose="020B0604030504040204" pitchFamily="34" charset="0"/>
              </a:rPr>
              <a:t>Профессиональный баскетбольный клуб ЦСКА</a:t>
            </a:r>
            <a:r>
              <a:rPr lang="en-US" sz="1150" dirty="0" smtClean="0">
                <a:solidFill>
                  <a:srgbClr val="004C97"/>
                </a:solidFill>
                <a:latin typeface="Tahoma" panose="020B0604030504040204" pitchFamily="34" charset="0"/>
              </a:rPr>
              <a:t> </a:t>
            </a:r>
            <a:endParaRPr lang="en-US" sz="1150" dirty="0">
              <a:solidFill>
                <a:srgbClr val="004C97"/>
              </a:solidFill>
              <a:latin typeface="Tahoma" panose="020B0604030504040204" pitchFamily="34" charset="0"/>
            </a:endParaRPr>
          </a:p>
          <a:p>
            <a:pPr marL="171450" indent="-171450" defTabSz="813799">
              <a:buClr>
                <a:srgbClr val="004C97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ru-RU" sz="1150" dirty="0" smtClean="0">
                <a:solidFill>
                  <a:srgbClr val="004C97"/>
                </a:solidFill>
                <a:latin typeface="Tahoma" panose="020B0604030504040204" pitchFamily="34" charset="0"/>
              </a:rPr>
              <a:t>Театральный фестиваль «Золотая маска»</a:t>
            </a:r>
            <a:r>
              <a:rPr lang="en-US" sz="1150" dirty="0" smtClean="0">
                <a:solidFill>
                  <a:srgbClr val="004C97"/>
                </a:solidFill>
                <a:latin typeface="Tahoma" panose="020B0604030504040204" pitchFamily="34" charset="0"/>
              </a:rPr>
              <a:t> </a:t>
            </a:r>
            <a:endParaRPr lang="en-US" sz="1150" dirty="0">
              <a:solidFill>
                <a:srgbClr val="004C97"/>
              </a:solidFill>
              <a:latin typeface="Tahoma" panose="020B0604030504040204" pitchFamily="34" charset="0"/>
            </a:endParaRPr>
          </a:p>
        </p:txBody>
      </p:sp>
      <p:sp>
        <p:nvSpPr>
          <p:cNvPr id="186" name="Прямоугольник 24"/>
          <p:cNvSpPr/>
          <p:nvPr/>
        </p:nvSpPr>
        <p:spPr>
          <a:xfrm>
            <a:off x="1804766" y="2490370"/>
            <a:ext cx="802628" cy="235512"/>
          </a:xfrm>
          <a:prstGeom prst="rect">
            <a:avLst/>
          </a:prstGeom>
          <a:solidFill>
            <a:srgbClr val="0077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solidFill>
                  <a:prstClr val="white"/>
                </a:solidFill>
                <a:latin typeface="Tahoma" panose="020B0604030504040204" pitchFamily="34" charset="0"/>
              </a:rPr>
              <a:t>МОСКВА</a:t>
            </a:r>
            <a:endParaRPr lang="en-GB" sz="1000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89" name="Прямоугольник 312"/>
          <p:cNvSpPr/>
          <p:nvPr/>
        </p:nvSpPr>
        <p:spPr bwMode="auto">
          <a:xfrm>
            <a:off x="4792772" y="4030281"/>
            <a:ext cx="2243309" cy="690962"/>
          </a:xfrm>
          <a:prstGeom prst="rect">
            <a:avLst/>
          </a:prstGeom>
          <a:solidFill>
            <a:schemeClr val="bg1"/>
          </a:solidFill>
          <a:ln w="15875">
            <a:solidFill>
              <a:srgbClr val="0077C8"/>
            </a:solidFill>
          </a:ln>
          <a:effectLst/>
          <a:extLst/>
        </p:spPr>
        <p:txBody>
          <a:bodyPr vert="horz" wrap="square" lIns="36000" tIns="0" rIns="36000" bIns="72000" numCol="1" rtlCol="0" anchor="b" anchorCtr="0" compatLnSpc="1">
            <a:prstTxWarp prst="textNoShape">
              <a:avLst/>
            </a:prstTxWarp>
          </a:bodyPr>
          <a:lstStyle/>
          <a:p>
            <a:pPr marL="171450" indent="-171450" defTabSz="813799">
              <a:buClr>
                <a:srgbClr val="004C97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en-US" sz="1150" dirty="0" smtClean="0">
                <a:solidFill>
                  <a:srgbClr val="004C97"/>
                </a:solidFill>
                <a:latin typeface="Tahoma" panose="020B0604030504040204" pitchFamily="34" charset="0"/>
              </a:rPr>
              <a:t>29</a:t>
            </a:r>
            <a:r>
              <a:rPr lang="ru-RU" sz="1150" dirty="0" smtClean="0">
                <a:solidFill>
                  <a:srgbClr val="004C97"/>
                </a:solidFill>
                <a:latin typeface="Tahoma" panose="020B0604030504040204" pitchFamily="34" charset="0"/>
              </a:rPr>
              <a:t>-</a:t>
            </a:r>
            <a:r>
              <a:rPr lang="ru-RU" sz="1150" dirty="0" err="1" smtClean="0">
                <a:solidFill>
                  <a:srgbClr val="004C97"/>
                </a:solidFill>
                <a:latin typeface="Tahoma" panose="020B0604030504040204" pitchFamily="34" charset="0"/>
              </a:rPr>
              <a:t>ая</a:t>
            </a:r>
            <a:r>
              <a:rPr lang="en-US" sz="1150" dirty="0" smtClean="0">
                <a:solidFill>
                  <a:srgbClr val="004C97"/>
                </a:solidFill>
                <a:latin typeface="Tahoma" panose="020B0604030504040204" pitchFamily="34" charset="0"/>
              </a:rPr>
              <a:t> </a:t>
            </a:r>
            <a:r>
              <a:rPr lang="ru-RU" sz="1150" dirty="0" smtClean="0">
                <a:solidFill>
                  <a:srgbClr val="004C97"/>
                </a:solidFill>
                <a:latin typeface="Tahoma" panose="020B0604030504040204" pitchFamily="34" charset="0"/>
              </a:rPr>
              <a:t>Международная Зимняя Универсиада в Красноярске в</a:t>
            </a:r>
            <a:r>
              <a:rPr lang="en-US" sz="1150" dirty="0" smtClean="0">
                <a:solidFill>
                  <a:srgbClr val="004C97"/>
                </a:solidFill>
                <a:latin typeface="Tahoma" panose="020B0604030504040204" pitchFamily="34" charset="0"/>
              </a:rPr>
              <a:t> 2019</a:t>
            </a:r>
            <a:r>
              <a:rPr lang="ru-RU" sz="1150" dirty="0" smtClean="0">
                <a:solidFill>
                  <a:srgbClr val="004C97"/>
                </a:solidFill>
                <a:latin typeface="Tahoma" panose="020B0604030504040204" pitchFamily="34" charset="0"/>
              </a:rPr>
              <a:t> г.</a:t>
            </a:r>
            <a:endParaRPr lang="en-US" sz="1150" dirty="0">
              <a:solidFill>
                <a:srgbClr val="004C97"/>
              </a:solidFill>
              <a:latin typeface="Tahoma" panose="020B0604030504040204" pitchFamily="34" charset="0"/>
            </a:endParaRPr>
          </a:p>
        </p:txBody>
      </p:sp>
      <p:sp>
        <p:nvSpPr>
          <p:cNvPr id="190" name="Прямоугольник 24"/>
          <p:cNvSpPr/>
          <p:nvPr/>
        </p:nvSpPr>
        <p:spPr>
          <a:xfrm>
            <a:off x="5878810" y="3814284"/>
            <a:ext cx="1174140" cy="216000"/>
          </a:xfrm>
          <a:prstGeom prst="rect">
            <a:avLst/>
          </a:prstGeom>
          <a:solidFill>
            <a:srgbClr val="0077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solidFill>
                  <a:prstClr val="white"/>
                </a:solidFill>
                <a:latin typeface="Tahoma" panose="020B0604030504040204" pitchFamily="34" charset="0"/>
              </a:rPr>
              <a:t>КРАСНОЯРСК</a:t>
            </a:r>
            <a:endParaRPr lang="en-GB" sz="1000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91" name="Прямоугольник 312"/>
          <p:cNvSpPr/>
          <p:nvPr/>
        </p:nvSpPr>
        <p:spPr bwMode="auto">
          <a:xfrm>
            <a:off x="951982" y="1261759"/>
            <a:ext cx="3198288" cy="872843"/>
          </a:xfrm>
          <a:prstGeom prst="rect">
            <a:avLst/>
          </a:prstGeom>
          <a:solidFill>
            <a:schemeClr val="bg1"/>
          </a:solidFill>
          <a:ln w="15875">
            <a:solidFill>
              <a:srgbClr val="0077C8"/>
            </a:solidFill>
          </a:ln>
          <a:effectLst/>
          <a:extLst/>
        </p:spPr>
        <p:txBody>
          <a:bodyPr vert="horz" wrap="square" lIns="36000" tIns="0" rIns="36000" bIns="72000" numCol="1" rtlCol="0" anchor="b" anchorCtr="0" compatLnSpc="1">
            <a:prstTxWarp prst="textNoShape">
              <a:avLst/>
            </a:prstTxWarp>
          </a:bodyPr>
          <a:lstStyle/>
          <a:p>
            <a:pPr marL="171450" indent="-171450" defTabSz="813799">
              <a:spcBef>
                <a:spcPts val="300"/>
              </a:spcBef>
              <a:buClr>
                <a:srgbClr val="004C97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ru-RU" sz="1150" dirty="0" smtClean="0">
                <a:solidFill>
                  <a:srgbClr val="004C97"/>
                </a:solidFill>
                <a:latin typeface="Tahoma" panose="020B0604030504040204" pitchFamily="34" charset="0"/>
              </a:rPr>
              <a:t>Поддержка природных заповедников </a:t>
            </a:r>
            <a:r>
              <a:rPr lang="en-US" sz="1150" dirty="0" smtClean="0">
                <a:solidFill>
                  <a:srgbClr val="004C97"/>
                </a:solidFill>
                <a:latin typeface="Tahoma" panose="020B0604030504040204" pitchFamily="34" charset="0"/>
              </a:rPr>
              <a:t>(</a:t>
            </a:r>
            <a:r>
              <a:rPr lang="ru-RU" sz="1150" dirty="0" smtClean="0">
                <a:solidFill>
                  <a:srgbClr val="004C97"/>
                </a:solidFill>
                <a:latin typeface="Tahoma" panose="020B0604030504040204" pitchFamily="34" charset="0"/>
              </a:rPr>
              <a:t>лапландский государственный природный биосферный заповедник</a:t>
            </a:r>
            <a:r>
              <a:rPr lang="en-US" sz="1150" dirty="0" smtClean="0">
                <a:solidFill>
                  <a:srgbClr val="004C97"/>
                </a:solidFill>
                <a:latin typeface="Tahoma" panose="020B0604030504040204" pitchFamily="34" charset="0"/>
              </a:rPr>
              <a:t>, </a:t>
            </a:r>
            <a:r>
              <a:rPr lang="ru-RU" sz="1150" dirty="0" smtClean="0">
                <a:solidFill>
                  <a:srgbClr val="004C97"/>
                </a:solidFill>
                <a:latin typeface="Tahoma" panose="020B0604030504040204" pitchFamily="34" charset="0"/>
              </a:rPr>
              <a:t>заповедник </a:t>
            </a:r>
            <a:r>
              <a:rPr lang="ru-RU" sz="1150" dirty="0" err="1" smtClean="0">
                <a:solidFill>
                  <a:srgbClr val="004C97"/>
                </a:solidFill>
                <a:latin typeface="Tahoma" panose="020B0604030504040204" pitchFamily="34" charset="0"/>
              </a:rPr>
              <a:t>Пасвик</a:t>
            </a:r>
            <a:r>
              <a:rPr lang="en-US" sz="1150" dirty="0" smtClean="0">
                <a:solidFill>
                  <a:srgbClr val="004C97"/>
                </a:solidFill>
                <a:latin typeface="Tahoma" panose="020B0604030504040204" pitchFamily="34" charset="0"/>
              </a:rPr>
              <a:t> (</a:t>
            </a:r>
            <a:r>
              <a:rPr lang="ru-RU" sz="1150" dirty="0" smtClean="0">
                <a:solidFill>
                  <a:srgbClr val="004C97"/>
                </a:solidFill>
                <a:latin typeface="Tahoma" panose="020B0604030504040204" pitchFamily="34" charset="0"/>
              </a:rPr>
              <a:t>Кольский полуостров)</a:t>
            </a:r>
            <a:r>
              <a:rPr lang="en-US" sz="1150" dirty="0" smtClean="0">
                <a:solidFill>
                  <a:srgbClr val="004C9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  <a:endParaRPr lang="en-US" sz="1150" dirty="0">
              <a:solidFill>
                <a:srgbClr val="004C97"/>
              </a:solidFill>
              <a:latin typeface="Tahoma" panose="020B0604030504040204" pitchFamily="34" charset="0"/>
            </a:endParaRPr>
          </a:p>
        </p:txBody>
      </p:sp>
      <p:sp>
        <p:nvSpPr>
          <p:cNvPr id="192" name="Прямоугольник 24"/>
          <p:cNvSpPr/>
          <p:nvPr/>
        </p:nvSpPr>
        <p:spPr>
          <a:xfrm>
            <a:off x="944580" y="1025907"/>
            <a:ext cx="1069809" cy="235512"/>
          </a:xfrm>
          <a:prstGeom prst="rect">
            <a:avLst/>
          </a:prstGeom>
          <a:solidFill>
            <a:srgbClr val="0077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solidFill>
                  <a:prstClr val="white"/>
                </a:solidFill>
                <a:latin typeface="Tahoma" panose="020B0604030504040204" pitchFamily="34" charset="0"/>
              </a:rPr>
              <a:t>МУРМАНСК</a:t>
            </a:r>
            <a:endParaRPr lang="en-GB" sz="1000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93" name="Прямоугольник 312"/>
          <p:cNvSpPr/>
          <p:nvPr/>
        </p:nvSpPr>
        <p:spPr bwMode="auto">
          <a:xfrm>
            <a:off x="4659640" y="2329461"/>
            <a:ext cx="4140000" cy="1347145"/>
          </a:xfrm>
          <a:prstGeom prst="rect">
            <a:avLst/>
          </a:prstGeom>
          <a:solidFill>
            <a:schemeClr val="bg1"/>
          </a:solidFill>
          <a:ln w="15875">
            <a:solidFill>
              <a:srgbClr val="0077C8"/>
            </a:solidFill>
          </a:ln>
          <a:effectLst/>
          <a:extLst/>
        </p:spPr>
        <p:txBody>
          <a:bodyPr vert="horz" wrap="square" lIns="36000" tIns="0" rIns="36000" bIns="72000" numCol="1" rtlCol="0" anchor="b" anchorCtr="0" compatLnSpc="1">
            <a:prstTxWarp prst="textNoShape">
              <a:avLst/>
            </a:prstTxWarp>
          </a:bodyPr>
          <a:lstStyle/>
          <a:p>
            <a:pPr marL="171450" indent="-171450" defTabSz="813799">
              <a:buClr>
                <a:srgbClr val="004C97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ru-RU" sz="1150" dirty="0" smtClean="0">
                <a:solidFill>
                  <a:srgbClr val="004C97"/>
                </a:solidFill>
                <a:latin typeface="Tahoma" panose="020B0604030504040204" pitchFamily="34" charset="0"/>
              </a:rPr>
              <a:t>Программы жилищного строительства и переселения</a:t>
            </a:r>
            <a:endParaRPr lang="en-GB" sz="1150" dirty="0">
              <a:solidFill>
                <a:srgbClr val="004C97"/>
              </a:solidFill>
              <a:latin typeface="Tahoma" panose="020B0604030504040204" pitchFamily="34" charset="0"/>
            </a:endParaRPr>
          </a:p>
          <a:p>
            <a:pPr marL="171450" indent="-171450" defTabSz="813799">
              <a:buClr>
                <a:srgbClr val="004C97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ru-RU" sz="1150" dirty="0" smtClean="0">
                <a:solidFill>
                  <a:srgbClr val="004C97"/>
                </a:solidFill>
                <a:latin typeface="Tahoma" panose="020B0604030504040204" pitchFamily="34" charset="0"/>
              </a:rPr>
              <a:t>Строительство </a:t>
            </a:r>
            <a:r>
              <a:rPr lang="en-US" sz="1150" dirty="0" smtClean="0">
                <a:solidFill>
                  <a:srgbClr val="004C97"/>
                </a:solidFill>
                <a:latin typeface="Tahoma" panose="020B0604030504040204" pitchFamily="34" charset="0"/>
              </a:rPr>
              <a:t>~1</a:t>
            </a:r>
            <a:r>
              <a:rPr lang="ru-RU" sz="1150" dirty="0" smtClean="0">
                <a:solidFill>
                  <a:srgbClr val="004C97"/>
                </a:solidFill>
                <a:latin typeface="Tahoma" panose="020B0604030504040204" pitchFamily="34" charset="0"/>
              </a:rPr>
              <a:t> </a:t>
            </a:r>
            <a:r>
              <a:rPr lang="en-US" sz="1150" dirty="0" smtClean="0">
                <a:solidFill>
                  <a:srgbClr val="004C97"/>
                </a:solidFill>
                <a:latin typeface="Tahoma" panose="020B0604030504040204" pitchFamily="34" charset="0"/>
              </a:rPr>
              <a:t>000 </a:t>
            </a:r>
            <a:r>
              <a:rPr lang="ru-RU" sz="1150" dirty="0" smtClean="0">
                <a:solidFill>
                  <a:srgbClr val="004C97"/>
                </a:solidFill>
                <a:latin typeface="Tahoma" panose="020B0604030504040204" pitchFamily="34" charset="0"/>
              </a:rPr>
              <a:t>км</a:t>
            </a:r>
            <a:r>
              <a:rPr lang="en-US" sz="1150" dirty="0" smtClean="0">
                <a:solidFill>
                  <a:srgbClr val="004C97"/>
                </a:solidFill>
                <a:latin typeface="Tahoma" panose="020B0604030504040204" pitchFamily="34" charset="0"/>
              </a:rPr>
              <a:t> </a:t>
            </a:r>
            <a:r>
              <a:rPr lang="ru-RU" sz="1150" dirty="0" smtClean="0">
                <a:solidFill>
                  <a:srgbClr val="004C97"/>
                </a:solidFill>
                <a:latin typeface="Tahoma" panose="020B0604030504040204" pitchFamily="34" charset="0"/>
              </a:rPr>
              <a:t>волоконно-оптической линии высокоскоростного интернета</a:t>
            </a:r>
            <a:endParaRPr lang="en-US" sz="1150" dirty="0">
              <a:solidFill>
                <a:srgbClr val="004C97"/>
              </a:solidFill>
              <a:latin typeface="Tahoma" panose="020B0604030504040204" pitchFamily="34" charset="0"/>
            </a:endParaRPr>
          </a:p>
          <a:p>
            <a:pPr marL="171450" indent="-171450" defTabSz="813799">
              <a:buClr>
                <a:srgbClr val="004C97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ru-RU" sz="1150" dirty="0" smtClean="0">
                <a:solidFill>
                  <a:srgbClr val="004C97"/>
                </a:solidFill>
                <a:latin typeface="Tahoma" panose="020B0604030504040204" pitchFamily="34" charset="0"/>
              </a:rPr>
              <a:t>Реконструкция посадочной полосы норильского аэропорта </a:t>
            </a:r>
            <a:r>
              <a:rPr lang="ru-RU" sz="1150" dirty="0" err="1" smtClean="0">
                <a:solidFill>
                  <a:srgbClr val="004C97"/>
                </a:solidFill>
                <a:latin typeface="Tahoma" panose="020B0604030504040204" pitchFamily="34" charset="0"/>
              </a:rPr>
              <a:t>Алыкель</a:t>
            </a:r>
            <a:endParaRPr lang="en-US" sz="1150" dirty="0">
              <a:solidFill>
                <a:srgbClr val="004C97"/>
              </a:solidFill>
              <a:latin typeface="Tahoma" panose="020B0604030504040204" pitchFamily="34" charset="0"/>
            </a:endParaRPr>
          </a:p>
          <a:p>
            <a:pPr marL="171450" indent="-171450" defTabSz="813799">
              <a:buClr>
                <a:srgbClr val="004C97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ru-RU" sz="1150" dirty="0" smtClean="0">
                <a:solidFill>
                  <a:srgbClr val="004C97"/>
                </a:solidFill>
                <a:latin typeface="Tahoma" panose="020B0604030504040204" pitchFamily="34" charset="0"/>
              </a:rPr>
              <a:t>Поддержка </a:t>
            </a:r>
            <a:r>
              <a:rPr lang="ru-RU" sz="1150" dirty="0" err="1" smtClean="0">
                <a:solidFill>
                  <a:srgbClr val="004C97"/>
                </a:solidFill>
                <a:latin typeface="Tahoma" panose="020B0604030504040204" pitchFamily="34" charset="0"/>
              </a:rPr>
              <a:t>Путоранского</a:t>
            </a:r>
            <a:r>
              <a:rPr lang="ru-RU" sz="1150" dirty="0" smtClean="0">
                <a:solidFill>
                  <a:srgbClr val="004C97"/>
                </a:solidFill>
                <a:latin typeface="Tahoma" panose="020B0604030504040204" pitchFamily="34" charset="0"/>
              </a:rPr>
              <a:t> государственного природного заповедника</a:t>
            </a:r>
            <a:endParaRPr lang="en-US" sz="1150" dirty="0">
              <a:solidFill>
                <a:srgbClr val="004C97"/>
              </a:solidFill>
              <a:latin typeface="Tahoma" panose="020B0604030504040204" pitchFamily="34" charset="0"/>
            </a:endParaRPr>
          </a:p>
        </p:txBody>
      </p:sp>
      <p:sp>
        <p:nvSpPr>
          <p:cNvPr id="196" name="Прямоугольник 24"/>
          <p:cNvSpPr/>
          <p:nvPr/>
        </p:nvSpPr>
        <p:spPr>
          <a:xfrm>
            <a:off x="4647289" y="2105478"/>
            <a:ext cx="1174140" cy="216000"/>
          </a:xfrm>
          <a:prstGeom prst="rect">
            <a:avLst/>
          </a:prstGeom>
          <a:solidFill>
            <a:srgbClr val="0077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solidFill>
                  <a:prstClr val="white"/>
                </a:solidFill>
                <a:latin typeface="Tahoma" panose="020B0604030504040204" pitchFamily="34" charset="0"/>
              </a:rPr>
              <a:t>НОРИЛЬСК</a:t>
            </a:r>
            <a:endParaRPr lang="en-GB" sz="1000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77" name="Text Box 74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50519" y="6266768"/>
            <a:ext cx="6783642" cy="215444"/>
          </a:xfrm>
          <a:prstGeom prst="rect">
            <a:avLst/>
          </a:prstGeom>
          <a:extLst/>
        </p:spPr>
        <p:txBody>
          <a:bodyPr wrap="square" lIns="0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>
              <a:defRPr sz="800" i="1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Источник</a:t>
            </a:r>
            <a:r>
              <a:rPr lang="en-US" dirty="0" smtClean="0"/>
              <a:t>: </a:t>
            </a:r>
            <a:r>
              <a:rPr lang="ru-RU" dirty="0" smtClean="0"/>
              <a:t>данные Компании</a:t>
            </a:r>
            <a:endParaRPr 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5612383" y="848768"/>
            <a:ext cx="365204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200" b="1" dirty="0">
              <a:solidFill>
                <a:srgbClr val="004C97"/>
              </a:solidFill>
              <a:latin typeface="Tahoma" panose="020B0604030504040204" pitchFamily="34" charset="0"/>
            </a:endParaRPr>
          </a:p>
          <a:p>
            <a:r>
              <a:rPr lang="ru-RU" sz="1200" b="1" dirty="0" smtClean="0">
                <a:solidFill>
                  <a:srgbClr val="004C97"/>
                </a:solidFill>
                <a:latin typeface="Tahoma" panose="020B0604030504040204" pitchFamily="34" charset="0"/>
              </a:rPr>
              <a:t>Один из самых высоких показателей социальных расходов относительно выручки в российском минерально-сырьевом комплексе</a:t>
            </a:r>
            <a:endParaRPr lang="en-US" sz="1200" b="1" baseline="30000" dirty="0">
              <a:solidFill>
                <a:srgbClr val="004C97"/>
              </a:solidFill>
              <a:latin typeface="Tahoma" panose="020B0604030504040204" pitchFamily="34" charset="0"/>
            </a:endParaRPr>
          </a:p>
        </p:txBody>
      </p:sp>
      <p:pic>
        <p:nvPicPr>
          <p:cNvPr id="152" name="Рисунок 151" descr="14-icon-3.png"/>
          <p:cNvPicPr>
            <a:picLocks noChangeAspect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4424900" y="799273"/>
            <a:ext cx="1176338" cy="1173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" name="TextBox 39"/>
          <p:cNvSpPr txBox="1"/>
          <p:nvPr/>
        </p:nvSpPr>
        <p:spPr>
          <a:xfrm>
            <a:off x="3913149" y="1259996"/>
            <a:ext cx="2133232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900" b="1" baseline="30000" dirty="0">
                <a:solidFill>
                  <a:srgbClr val="008AC4"/>
                </a:solidFill>
                <a:latin typeface="Tahoma" pitchFamily="34" charset="0"/>
                <a:cs typeface="Tahoma" pitchFamily="34" charset="0"/>
              </a:rPr>
              <a:t>4%</a:t>
            </a:r>
            <a:r>
              <a:rPr lang="ru-RU" sz="3900" b="1" i="1" baseline="30000" dirty="0">
                <a:solidFill>
                  <a:srgbClr val="008AC4"/>
                </a:solidFill>
                <a:latin typeface="Tahoma" pitchFamily="34" charset="0"/>
                <a:cs typeface="Tahoma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91211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Прямоугольник 94"/>
          <p:cNvSpPr/>
          <p:nvPr/>
        </p:nvSpPr>
        <p:spPr>
          <a:xfrm>
            <a:off x="304306" y="1629076"/>
            <a:ext cx="8491541" cy="4447676"/>
          </a:xfrm>
          <a:prstGeom prst="rect">
            <a:avLst/>
          </a:prstGeom>
          <a:solidFill>
            <a:schemeClr val="accent1">
              <a:lumMod val="20000"/>
              <a:lumOff val="8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altLang="zh-TW" dirty="0" smtClean="0">
                <a:latin typeface="Tahoma" panose="020B0604030504040204" pitchFamily="34" charset="0"/>
              </a:rPr>
              <a:t> </a:t>
            </a:r>
            <a:fld id="{AC2CF52D-F9E0-495D-B83C-D554EBBABCB3}" type="slidenum">
              <a:rPr lang="en-US" altLang="zh-TW" smtClean="0">
                <a:latin typeface="Tahoma" panose="020B0604030504040204" pitchFamily="34" charset="0"/>
              </a:rPr>
              <a:pPr/>
              <a:t>4</a:t>
            </a:fld>
            <a:endParaRPr lang="en-US" altLang="zh-TW" dirty="0">
              <a:latin typeface="Tahoma" panose="020B0604030504040204" pitchFamily="34" charset="0"/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257734" y="797367"/>
            <a:ext cx="852749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b="1" kern="1200" dirty="0" smtClean="0">
                <a:solidFill>
                  <a:schemeClr val="tx1"/>
                </a:solidFill>
                <a:latin typeface="+mn-lt"/>
              </a:rPr>
              <a:t>Норникель следует принципам, изложенным в </a:t>
            </a:r>
            <a:r>
              <a:rPr lang="ru-RU" sz="1200" b="1" kern="1200" dirty="0" smtClean="0">
                <a:solidFill>
                  <a:schemeClr val="tx1"/>
                </a:solidFill>
                <a:latin typeface="+mn-lt"/>
              </a:rPr>
              <a:t>Целях ООН в области устойчивого развития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200" kern="1200" dirty="0">
              <a:solidFill>
                <a:schemeClr val="tx1"/>
              </a:solidFill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b="1" dirty="0"/>
              <a:t>Ведущий мировой поставщик материалов, имеющих решающее значение для </a:t>
            </a:r>
            <a:r>
              <a:rPr lang="ru-RU" sz="1200" b="1" dirty="0" smtClean="0"/>
              <a:t>развития низкоуглеродной </a:t>
            </a:r>
            <a:r>
              <a:rPr lang="ru-RU" sz="1200" b="1" dirty="0"/>
              <a:t>экономики</a:t>
            </a:r>
            <a:endParaRPr lang="en-US" sz="1200" b="1" kern="1200" dirty="0" smtClean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96" name="Группа 95"/>
          <p:cNvGrpSpPr/>
          <p:nvPr/>
        </p:nvGrpSpPr>
        <p:grpSpPr>
          <a:xfrm>
            <a:off x="4221663" y="1724331"/>
            <a:ext cx="356109" cy="351544"/>
            <a:chOff x="8154988" y="4422776"/>
            <a:chExt cx="495300" cy="488950"/>
          </a:xfrm>
          <a:solidFill>
            <a:schemeClr val="tx1"/>
          </a:solidFill>
        </p:grpSpPr>
        <p:sp>
          <p:nvSpPr>
            <p:cNvPr id="97" name="Rectangle 465"/>
            <p:cNvSpPr>
              <a:spLocks noChangeArrowheads="1"/>
            </p:cNvSpPr>
            <p:nvPr/>
          </p:nvSpPr>
          <p:spPr bwMode="auto">
            <a:xfrm>
              <a:off x="8394700" y="4532313"/>
              <a:ext cx="15875" cy="3794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8" name="Freeform 466"/>
            <p:cNvSpPr>
              <a:spLocks noEditPoints="1"/>
            </p:cNvSpPr>
            <p:nvPr/>
          </p:nvSpPr>
          <p:spPr bwMode="auto">
            <a:xfrm>
              <a:off x="8332788" y="4422776"/>
              <a:ext cx="139700" cy="233363"/>
            </a:xfrm>
            <a:custGeom>
              <a:avLst/>
              <a:gdLst>
                <a:gd name="T0" fmla="*/ 36 w 72"/>
                <a:gd name="T1" fmla="*/ 120 h 120"/>
                <a:gd name="T2" fmla="*/ 33 w 72"/>
                <a:gd name="T3" fmla="*/ 119 h 120"/>
                <a:gd name="T4" fmla="*/ 0 w 72"/>
                <a:gd name="T5" fmla="*/ 60 h 120"/>
                <a:gd name="T6" fmla="*/ 33 w 72"/>
                <a:gd name="T7" fmla="*/ 1 h 120"/>
                <a:gd name="T8" fmla="*/ 38 w 72"/>
                <a:gd name="T9" fmla="*/ 1 h 120"/>
                <a:gd name="T10" fmla="*/ 72 w 72"/>
                <a:gd name="T11" fmla="*/ 60 h 120"/>
                <a:gd name="T12" fmla="*/ 38 w 72"/>
                <a:gd name="T13" fmla="*/ 119 h 120"/>
                <a:gd name="T14" fmla="*/ 36 w 72"/>
                <a:gd name="T15" fmla="*/ 120 h 120"/>
                <a:gd name="T16" fmla="*/ 36 w 72"/>
                <a:gd name="T17" fmla="*/ 10 h 120"/>
                <a:gd name="T18" fmla="*/ 8 w 72"/>
                <a:gd name="T19" fmla="*/ 60 h 120"/>
                <a:gd name="T20" fmla="*/ 36 w 72"/>
                <a:gd name="T21" fmla="*/ 111 h 120"/>
                <a:gd name="T22" fmla="*/ 64 w 72"/>
                <a:gd name="T23" fmla="*/ 60 h 120"/>
                <a:gd name="T24" fmla="*/ 36 w 72"/>
                <a:gd name="T25" fmla="*/ 1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20">
                  <a:moveTo>
                    <a:pt x="36" y="120"/>
                  </a:moveTo>
                  <a:cubicBezTo>
                    <a:pt x="35" y="120"/>
                    <a:pt x="34" y="120"/>
                    <a:pt x="33" y="119"/>
                  </a:cubicBezTo>
                  <a:cubicBezTo>
                    <a:pt x="32" y="118"/>
                    <a:pt x="0" y="88"/>
                    <a:pt x="0" y="60"/>
                  </a:cubicBezTo>
                  <a:cubicBezTo>
                    <a:pt x="0" y="32"/>
                    <a:pt x="32" y="3"/>
                    <a:pt x="33" y="1"/>
                  </a:cubicBezTo>
                  <a:cubicBezTo>
                    <a:pt x="35" y="0"/>
                    <a:pt x="37" y="0"/>
                    <a:pt x="38" y="1"/>
                  </a:cubicBezTo>
                  <a:cubicBezTo>
                    <a:pt x="40" y="3"/>
                    <a:pt x="72" y="32"/>
                    <a:pt x="72" y="60"/>
                  </a:cubicBezTo>
                  <a:cubicBezTo>
                    <a:pt x="72" y="88"/>
                    <a:pt x="40" y="118"/>
                    <a:pt x="38" y="119"/>
                  </a:cubicBezTo>
                  <a:cubicBezTo>
                    <a:pt x="38" y="120"/>
                    <a:pt x="37" y="120"/>
                    <a:pt x="36" y="120"/>
                  </a:cubicBezTo>
                  <a:close/>
                  <a:moveTo>
                    <a:pt x="36" y="10"/>
                  </a:moveTo>
                  <a:cubicBezTo>
                    <a:pt x="28" y="18"/>
                    <a:pt x="8" y="40"/>
                    <a:pt x="8" y="60"/>
                  </a:cubicBezTo>
                  <a:cubicBezTo>
                    <a:pt x="8" y="80"/>
                    <a:pt x="28" y="103"/>
                    <a:pt x="36" y="111"/>
                  </a:cubicBezTo>
                  <a:cubicBezTo>
                    <a:pt x="43" y="103"/>
                    <a:pt x="64" y="80"/>
                    <a:pt x="64" y="60"/>
                  </a:cubicBezTo>
                  <a:cubicBezTo>
                    <a:pt x="64" y="40"/>
                    <a:pt x="43" y="18"/>
                    <a:pt x="36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9" name="Freeform 467"/>
            <p:cNvSpPr>
              <a:spLocks noEditPoints="1"/>
            </p:cNvSpPr>
            <p:nvPr/>
          </p:nvSpPr>
          <p:spPr bwMode="auto">
            <a:xfrm>
              <a:off x="8278813" y="4610101"/>
              <a:ext cx="131763" cy="123825"/>
            </a:xfrm>
            <a:custGeom>
              <a:avLst/>
              <a:gdLst>
                <a:gd name="T0" fmla="*/ 60 w 68"/>
                <a:gd name="T1" fmla="*/ 64 h 64"/>
                <a:gd name="T2" fmla="*/ 21 w 68"/>
                <a:gd name="T3" fmla="*/ 51 h 64"/>
                <a:gd name="T4" fmla="*/ 0 w 68"/>
                <a:gd name="T5" fmla="*/ 5 h 64"/>
                <a:gd name="T6" fmla="*/ 1 w 68"/>
                <a:gd name="T7" fmla="*/ 2 h 64"/>
                <a:gd name="T8" fmla="*/ 3 w 68"/>
                <a:gd name="T9" fmla="*/ 0 h 64"/>
                <a:gd name="T10" fmla="*/ 7 w 68"/>
                <a:gd name="T11" fmla="*/ 0 h 64"/>
                <a:gd name="T12" fmla="*/ 43 w 68"/>
                <a:gd name="T13" fmla="*/ 14 h 64"/>
                <a:gd name="T14" fmla="*/ 68 w 68"/>
                <a:gd name="T15" fmla="*/ 59 h 64"/>
                <a:gd name="T16" fmla="*/ 67 w 68"/>
                <a:gd name="T17" fmla="*/ 63 h 64"/>
                <a:gd name="T18" fmla="*/ 64 w 68"/>
                <a:gd name="T19" fmla="*/ 64 h 64"/>
                <a:gd name="T20" fmla="*/ 60 w 68"/>
                <a:gd name="T21" fmla="*/ 64 h 64"/>
                <a:gd name="T22" fmla="*/ 9 w 68"/>
                <a:gd name="T23" fmla="*/ 8 h 64"/>
                <a:gd name="T24" fmla="*/ 27 w 68"/>
                <a:gd name="T25" fmla="*/ 46 h 64"/>
                <a:gd name="T26" fmla="*/ 58 w 68"/>
                <a:gd name="T27" fmla="*/ 56 h 64"/>
                <a:gd name="T28" fmla="*/ 37 w 68"/>
                <a:gd name="T29" fmla="*/ 19 h 64"/>
                <a:gd name="T30" fmla="*/ 9 w 68"/>
                <a:gd name="T31" fmla="*/ 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8" h="64">
                  <a:moveTo>
                    <a:pt x="60" y="64"/>
                  </a:moveTo>
                  <a:cubicBezTo>
                    <a:pt x="52" y="64"/>
                    <a:pt x="33" y="63"/>
                    <a:pt x="21" y="51"/>
                  </a:cubicBezTo>
                  <a:cubicBezTo>
                    <a:pt x="6" y="36"/>
                    <a:pt x="0" y="6"/>
                    <a:pt x="0" y="5"/>
                  </a:cubicBezTo>
                  <a:cubicBezTo>
                    <a:pt x="0" y="4"/>
                    <a:pt x="0" y="3"/>
                    <a:pt x="1" y="2"/>
                  </a:cubicBezTo>
                  <a:cubicBezTo>
                    <a:pt x="1" y="1"/>
                    <a:pt x="2" y="0"/>
                    <a:pt x="3" y="0"/>
                  </a:cubicBezTo>
                  <a:cubicBezTo>
                    <a:pt x="3" y="0"/>
                    <a:pt x="5" y="0"/>
                    <a:pt x="7" y="0"/>
                  </a:cubicBezTo>
                  <a:cubicBezTo>
                    <a:pt x="14" y="0"/>
                    <a:pt x="31" y="2"/>
                    <a:pt x="43" y="14"/>
                  </a:cubicBezTo>
                  <a:cubicBezTo>
                    <a:pt x="57" y="28"/>
                    <a:pt x="67" y="58"/>
                    <a:pt x="68" y="59"/>
                  </a:cubicBezTo>
                  <a:cubicBezTo>
                    <a:pt x="68" y="60"/>
                    <a:pt x="68" y="62"/>
                    <a:pt x="67" y="63"/>
                  </a:cubicBezTo>
                  <a:cubicBezTo>
                    <a:pt x="66" y="64"/>
                    <a:pt x="65" y="64"/>
                    <a:pt x="64" y="64"/>
                  </a:cubicBezTo>
                  <a:cubicBezTo>
                    <a:pt x="64" y="64"/>
                    <a:pt x="63" y="64"/>
                    <a:pt x="60" y="64"/>
                  </a:cubicBezTo>
                  <a:close/>
                  <a:moveTo>
                    <a:pt x="9" y="8"/>
                  </a:moveTo>
                  <a:cubicBezTo>
                    <a:pt x="11" y="17"/>
                    <a:pt x="17" y="36"/>
                    <a:pt x="27" y="46"/>
                  </a:cubicBezTo>
                  <a:cubicBezTo>
                    <a:pt x="36" y="55"/>
                    <a:pt x="50" y="56"/>
                    <a:pt x="58" y="56"/>
                  </a:cubicBezTo>
                  <a:cubicBezTo>
                    <a:pt x="55" y="47"/>
                    <a:pt x="47" y="29"/>
                    <a:pt x="37" y="19"/>
                  </a:cubicBezTo>
                  <a:cubicBezTo>
                    <a:pt x="28" y="10"/>
                    <a:pt x="15" y="9"/>
                    <a:pt x="9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0" name="Freeform 468"/>
            <p:cNvSpPr>
              <a:spLocks noEditPoints="1"/>
            </p:cNvSpPr>
            <p:nvPr/>
          </p:nvSpPr>
          <p:spPr bwMode="auto">
            <a:xfrm>
              <a:off x="8394700" y="4610101"/>
              <a:ext cx="131763" cy="123825"/>
            </a:xfrm>
            <a:custGeom>
              <a:avLst/>
              <a:gdLst>
                <a:gd name="T0" fmla="*/ 7 w 68"/>
                <a:gd name="T1" fmla="*/ 64 h 64"/>
                <a:gd name="T2" fmla="*/ 7 w 68"/>
                <a:gd name="T3" fmla="*/ 64 h 64"/>
                <a:gd name="T4" fmla="*/ 3 w 68"/>
                <a:gd name="T5" fmla="*/ 64 h 64"/>
                <a:gd name="T6" fmla="*/ 0 w 68"/>
                <a:gd name="T7" fmla="*/ 63 h 64"/>
                <a:gd name="T8" fmla="*/ 0 w 68"/>
                <a:gd name="T9" fmla="*/ 59 h 64"/>
                <a:gd name="T10" fmla="*/ 25 w 68"/>
                <a:gd name="T11" fmla="*/ 14 h 64"/>
                <a:gd name="T12" fmla="*/ 61 w 68"/>
                <a:gd name="T13" fmla="*/ 0 h 64"/>
                <a:gd name="T14" fmla="*/ 64 w 68"/>
                <a:gd name="T15" fmla="*/ 0 h 64"/>
                <a:gd name="T16" fmla="*/ 67 w 68"/>
                <a:gd name="T17" fmla="*/ 2 h 64"/>
                <a:gd name="T18" fmla="*/ 68 w 68"/>
                <a:gd name="T19" fmla="*/ 5 h 64"/>
                <a:gd name="T20" fmla="*/ 47 w 68"/>
                <a:gd name="T21" fmla="*/ 51 h 64"/>
                <a:gd name="T22" fmla="*/ 7 w 68"/>
                <a:gd name="T23" fmla="*/ 64 h 64"/>
                <a:gd name="T24" fmla="*/ 59 w 68"/>
                <a:gd name="T25" fmla="*/ 8 h 64"/>
                <a:gd name="T26" fmla="*/ 31 w 68"/>
                <a:gd name="T27" fmla="*/ 19 h 64"/>
                <a:gd name="T28" fmla="*/ 9 w 68"/>
                <a:gd name="T29" fmla="*/ 56 h 64"/>
                <a:gd name="T30" fmla="*/ 41 w 68"/>
                <a:gd name="T31" fmla="*/ 46 h 64"/>
                <a:gd name="T32" fmla="*/ 59 w 68"/>
                <a:gd name="T33" fmla="*/ 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8" h="64">
                  <a:moveTo>
                    <a:pt x="7" y="64"/>
                  </a:moveTo>
                  <a:cubicBezTo>
                    <a:pt x="7" y="64"/>
                    <a:pt x="7" y="64"/>
                    <a:pt x="7" y="64"/>
                  </a:cubicBezTo>
                  <a:cubicBezTo>
                    <a:pt x="5" y="64"/>
                    <a:pt x="3" y="64"/>
                    <a:pt x="3" y="64"/>
                  </a:cubicBezTo>
                  <a:cubicBezTo>
                    <a:pt x="2" y="64"/>
                    <a:pt x="1" y="64"/>
                    <a:pt x="0" y="63"/>
                  </a:cubicBezTo>
                  <a:cubicBezTo>
                    <a:pt x="0" y="62"/>
                    <a:pt x="0" y="60"/>
                    <a:pt x="0" y="59"/>
                  </a:cubicBezTo>
                  <a:cubicBezTo>
                    <a:pt x="0" y="58"/>
                    <a:pt x="10" y="28"/>
                    <a:pt x="25" y="14"/>
                  </a:cubicBezTo>
                  <a:cubicBezTo>
                    <a:pt x="37" y="2"/>
                    <a:pt x="54" y="0"/>
                    <a:pt x="61" y="0"/>
                  </a:cubicBezTo>
                  <a:cubicBezTo>
                    <a:pt x="63" y="0"/>
                    <a:pt x="64" y="0"/>
                    <a:pt x="64" y="0"/>
                  </a:cubicBezTo>
                  <a:cubicBezTo>
                    <a:pt x="65" y="0"/>
                    <a:pt x="66" y="1"/>
                    <a:pt x="67" y="2"/>
                  </a:cubicBezTo>
                  <a:cubicBezTo>
                    <a:pt x="68" y="3"/>
                    <a:pt x="68" y="4"/>
                    <a:pt x="68" y="5"/>
                  </a:cubicBezTo>
                  <a:cubicBezTo>
                    <a:pt x="67" y="6"/>
                    <a:pt x="61" y="36"/>
                    <a:pt x="47" y="51"/>
                  </a:cubicBezTo>
                  <a:cubicBezTo>
                    <a:pt x="35" y="63"/>
                    <a:pt x="15" y="64"/>
                    <a:pt x="7" y="64"/>
                  </a:cubicBezTo>
                  <a:close/>
                  <a:moveTo>
                    <a:pt x="59" y="8"/>
                  </a:moveTo>
                  <a:cubicBezTo>
                    <a:pt x="52" y="9"/>
                    <a:pt x="40" y="10"/>
                    <a:pt x="31" y="19"/>
                  </a:cubicBezTo>
                  <a:cubicBezTo>
                    <a:pt x="21" y="29"/>
                    <a:pt x="13" y="47"/>
                    <a:pt x="9" y="56"/>
                  </a:cubicBezTo>
                  <a:cubicBezTo>
                    <a:pt x="17" y="56"/>
                    <a:pt x="32" y="55"/>
                    <a:pt x="41" y="46"/>
                  </a:cubicBezTo>
                  <a:cubicBezTo>
                    <a:pt x="51" y="36"/>
                    <a:pt x="57" y="17"/>
                    <a:pt x="59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1" name="Freeform 469"/>
            <p:cNvSpPr>
              <a:spLocks/>
            </p:cNvSpPr>
            <p:nvPr/>
          </p:nvSpPr>
          <p:spPr bwMode="auto">
            <a:xfrm>
              <a:off x="8154988" y="4570413"/>
              <a:ext cx="185738" cy="295275"/>
            </a:xfrm>
            <a:custGeom>
              <a:avLst/>
              <a:gdLst>
                <a:gd name="T0" fmla="*/ 96 w 96"/>
                <a:gd name="T1" fmla="*/ 152 h 152"/>
                <a:gd name="T2" fmla="*/ 44 w 96"/>
                <a:gd name="T3" fmla="*/ 152 h 152"/>
                <a:gd name="T4" fmla="*/ 44 w 96"/>
                <a:gd name="T5" fmla="*/ 140 h 152"/>
                <a:gd name="T6" fmla="*/ 37 w 96"/>
                <a:gd name="T7" fmla="*/ 127 h 152"/>
                <a:gd name="T8" fmla="*/ 9 w 96"/>
                <a:gd name="T9" fmla="*/ 99 h 152"/>
                <a:gd name="T10" fmla="*/ 0 w 96"/>
                <a:gd name="T11" fmla="*/ 80 h 152"/>
                <a:gd name="T12" fmla="*/ 0 w 96"/>
                <a:gd name="T13" fmla="*/ 16 h 152"/>
                <a:gd name="T14" fmla="*/ 16 w 96"/>
                <a:gd name="T15" fmla="*/ 0 h 152"/>
                <a:gd name="T16" fmla="*/ 32 w 96"/>
                <a:gd name="T17" fmla="*/ 16 h 152"/>
                <a:gd name="T18" fmla="*/ 32 w 96"/>
                <a:gd name="T19" fmla="*/ 48 h 152"/>
                <a:gd name="T20" fmla="*/ 24 w 96"/>
                <a:gd name="T21" fmla="*/ 48 h 152"/>
                <a:gd name="T22" fmla="*/ 24 w 96"/>
                <a:gd name="T23" fmla="*/ 16 h 152"/>
                <a:gd name="T24" fmla="*/ 16 w 96"/>
                <a:gd name="T25" fmla="*/ 8 h 152"/>
                <a:gd name="T26" fmla="*/ 8 w 96"/>
                <a:gd name="T27" fmla="*/ 16 h 152"/>
                <a:gd name="T28" fmla="*/ 8 w 96"/>
                <a:gd name="T29" fmla="*/ 80 h 152"/>
                <a:gd name="T30" fmla="*/ 15 w 96"/>
                <a:gd name="T31" fmla="*/ 94 h 152"/>
                <a:gd name="T32" fmla="*/ 43 w 96"/>
                <a:gd name="T33" fmla="*/ 122 h 152"/>
                <a:gd name="T34" fmla="*/ 52 w 96"/>
                <a:gd name="T35" fmla="*/ 140 h 152"/>
                <a:gd name="T36" fmla="*/ 52 w 96"/>
                <a:gd name="T37" fmla="*/ 144 h 152"/>
                <a:gd name="T38" fmla="*/ 88 w 96"/>
                <a:gd name="T39" fmla="*/ 144 h 152"/>
                <a:gd name="T40" fmla="*/ 88 w 96"/>
                <a:gd name="T41" fmla="*/ 116 h 152"/>
                <a:gd name="T42" fmla="*/ 81 w 96"/>
                <a:gd name="T43" fmla="*/ 99 h 152"/>
                <a:gd name="T44" fmla="*/ 42 w 96"/>
                <a:gd name="T45" fmla="*/ 60 h 152"/>
                <a:gd name="T46" fmla="*/ 40 w 96"/>
                <a:gd name="T47" fmla="*/ 60 h 152"/>
                <a:gd name="T48" fmla="*/ 32 w 96"/>
                <a:gd name="T49" fmla="*/ 68 h 152"/>
                <a:gd name="T50" fmla="*/ 32 w 96"/>
                <a:gd name="T51" fmla="*/ 71 h 152"/>
                <a:gd name="T52" fmla="*/ 59 w 96"/>
                <a:gd name="T53" fmla="*/ 98 h 152"/>
                <a:gd name="T54" fmla="*/ 53 w 96"/>
                <a:gd name="T55" fmla="*/ 103 h 152"/>
                <a:gd name="T56" fmla="*/ 24 w 96"/>
                <a:gd name="T57" fmla="*/ 74 h 152"/>
                <a:gd name="T58" fmla="*/ 24 w 96"/>
                <a:gd name="T59" fmla="*/ 68 h 152"/>
                <a:gd name="T60" fmla="*/ 40 w 96"/>
                <a:gd name="T61" fmla="*/ 52 h 152"/>
                <a:gd name="T62" fmla="*/ 45 w 96"/>
                <a:gd name="T63" fmla="*/ 52 h 152"/>
                <a:gd name="T64" fmla="*/ 87 w 96"/>
                <a:gd name="T65" fmla="*/ 94 h 152"/>
                <a:gd name="T66" fmla="*/ 96 w 96"/>
                <a:gd name="T67" fmla="*/ 116 h 152"/>
                <a:gd name="T68" fmla="*/ 96 w 96"/>
                <a:gd name="T6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6" h="152">
                  <a:moveTo>
                    <a:pt x="96" y="152"/>
                  </a:moveTo>
                  <a:cubicBezTo>
                    <a:pt x="44" y="152"/>
                    <a:pt x="44" y="152"/>
                    <a:pt x="44" y="152"/>
                  </a:cubicBezTo>
                  <a:cubicBezTo>
                    <a:pt x="44" y="140"/>
                    <a:pt x="44" y="140"/>
                    <a:pt x="44" y="140"/>
                  </a:cubicBezTo>
                  <a:cubicBezTo>
                    <a:pt x="44" y="140"/>
                    <a:pt x="44" y="134"/>
                    <a:pt x="37" y="127"/>
                  </a:cubicBezTo>
                  <a:cubicBezTo>
                    <a:pt x="9" y="99"/>
                    <a:pt x="9" y="99"/>
                    <a:pt x="9" y="99"/>
                  </a:cubicBezTo>
                  <a:cubicBezTo>
                    <a:pt x="0" y="90"/>
                    <a:pt x="0" y="81"/>
                    <a:pt x="0" y="8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25" y="0"/>
                    <a:pt x="32" y="8"/>
                    <a:pt x="32" y="16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24" y="12"/>
                    <a:pt x="20" y="8"/>
                    <a:pt x="16" y="8"/>
                  </a:cubicBezTo>
                  <a:cubicBezTo>
                    <a:pt x="11" y="8"/>
                    <a:pt x="8" y="12"/>
                    <a:pt x="8" y="16"/>
                  </a:cubicBezTo>
                  <a:cubicBezTo>
                    <a:pt x="8" y="80"/>
                    <a:pt x="8" y="80"/>
                    <a:pt x="8" y="80"/>
                  </a:cubicBezTo>
                  <a:cubicBezTo>
                    <a:pt x="8" y="81"/>
                    <a:pt x="8" y="87"/>
                    <a:pt x="15" y="94"/>
                  </a:cubicBezTo>
                  <a:cubicBezTo>
                    <a:pt x="43" y="122"/>
                    <a:pt x="43" y="122"/>
                    <a:pt x="43" y="122"/>
                  </a:cubicBezTo>
                  <a:cubicBezTo>
                    <a:pt x="52" y="131"/>
                    <a:pt x="52" y="140"/>
                    <a:pt x="52" y="140"/>
                  </a:cubicBezTo>
                  <a:cubicBezTo>
                    <a:pt x="52" y="144"/>
                    <a:pt x="52" y="144"/>
                    <a:pt x="52" y="144"/>
                  </a:cubicBezTo>
                  <a:cubicBezTo>
                    <a:pt x="88" y="144"/>
                    <a:pt x="88" y="144"/>
                    <a:pt x="88" y="144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6"/>
                    <a:pt x="88" y="106"/>
                    <a:pt x="81" y="99"/>
                  </a:cubicBezTo>
                  <a:cubicBezTo>
                    <a:pt x="42" y="60"/>
                    <a:pt x="42" y="60"/>
                    <a:pt x="42" y="60"/>
                  </a:cubicBezTo>
                  <a:cubicBezTo>
                    <a:pt x="40" y="60"/>
                    <a:pt x="40" y="60"/>
                    <a:pt x="40" y="60"/>
                  </a:cubicBezTo>
                  <a:cubicBezTo>
                    <a:pt x="35" y="60"/>
                    <a:pt x="32" y="64"/>
                    <a:pt x="32" y="68"/>
                  </a:cubicBezTo>
                  <a:cubicBezTo>
                    <a:pt x="32" y="71"/>
                    <a:pt x="32" y="71"/>
                    <a:pt x="32" y="71"/>
                  </a:cubicBezTo>
                  <a:cubicBezTo>
                    <a:pt x="59" y="98"/>
                    <a:pt x="59" y="98"/>
                    <a:pt x="59" y="98"/>
                  </a:cubicBezTo>
                  <a:cubicBezTo>
                    <a:pt x="53" y="103"/>
                    <a:pt x="53" y="103"/>
                    <a:pt x="53" y="103"/>
                  </a:cubicBezTo>
                  <a:cubicBezTo>
                    <a:pt x="24" y="74"/>
                    <a:pt x="24" y="74"/>
                    <a:pt x="24" y="74"/>
                  </a:cubicBezTo>
                  <a:cubicBezTo>
                    <a:pt x="24" y="68"/>
                    <a:pt x="24" y="68"/>
                    <a:pt x="24" y="68"/>
                  </a:cubicBezTo>
                  <a:cubicBezTo>
                    <a:pt x="24" y="60"/>
                    <a:pt x="31" y="52"/>
                    <a:pt x="40" y="52"/>
                  </a:cubicBezTo>
                  <a:cubicBezTo>
                    <a:pt x="45" y="52"/>
                    <a:pt x="45" y="52"/>
                    <a:pt x="45" y="52"/>
                  </a:cubicBezTo>
                  <a:cubicBezTo>
                    <a:pt x="87" y="94"/>
                    <a:pt x="87" y="94"/>
                    <a:pt x="87" y="94"/>
                  </a:cubicBezTo>
                  <a:cubicBezTo>
                    <a:pt x="96" y="103"/>
                    <a:pt x="96" y="116"/>
                    <a:pt x="96" y="116"/>
                  </a:cubicBezTo>
                  <a:lnTo>
                    <a:pt x="96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2" name="Freeform 470"/>
            <p:cNvSpPr>
              <a:spLocks/>
            </p:cNvSpPr>
            <p:nvPr/>
          </p:nvSpPr>
          <p:spPr bwMode="auto">
            <a:xfrm>
              <a:off x="8464550" y="4570413"/>
              <a:ext cx="185738" cy="295275"/>
            </a:xfrm>
            <a:custGeom>
              <a:avLst/>
              <a:gdLst>
                <a:gd name="T0" fmla="*/ 52 w 96"/>
                <a:gd name="T1" fmla="*/ 152 h 152"/>
                <a:gd name="T2" fmla="*/ 0 w 96"/>
                <a:gd name="T3" fmla="*/ 152 h 152"/>
                <a:gd name="T4" fmla="*/ 0 w 96"/>
                <a:gd name="T5" fmla="*/ 116 h 152"/>
                <a:gd name="T6" fmla="*/ 9 w 96"/>
                <a:gd name="T7" fmla="*/ 94 h 152"/>
                <a:gd name="T8" fmla="*/ 50 w 96"/>
                <a:gd name="T9" fmla="*/ 52 h 152"/>
                <a:gd name="T10" fmla="*/ 56 w 96"/>
                <a:gd name="T11" fmla="*/ 52 h 152"/>
                <a:gd name="T12" fmla="*/ 72 w 96"/>
                <a:gd name="T13" fmla="*/ 68 h 152"/>
                <a:gd name="T14" fmla="*/ 72 w 96"/>
                <a:gd name="T15" fmla="*/ 74 h 152"/>
                <a:gd name="T16" fmla="*/ 43 w 96"/>
                <a:gd name="T17" fmla="*/ 103 h 152"/>
                <a:gd name="T18" fmla="*/ 37 w 96"/>
                <a:gd name="T19" fmla="*/ 98 h 152"/>
                <a:gd name="T20" fmla="*/ 64 w 96"/>
                <a:gd name="T21" fmla="*/ 71 h 152"/>
                <a:gd name="T22" fmla="*/ 64 w 96"/>
                <a:gd name="T23" fmla="*/ 68 h 152"/>
                <a:gd name="T24" fmla="*/ 56 w 96"/>
                <a:gd name="T25" fmla="*/ 60 h 152"/>
                <a:gd name="T26" fmla="*/ 53 w 96"/>
                <a:gd name="T27" fmla="*/ 60 h 152"/>
                <a:gd name="T28" fmla="*/ 15 w 96"/>
                <a:gd name="T29" fmla="*/ 99 h 152"/>
                <a:gd name="T30" fmla="*/ 8 w 96"/>
                <a:gd name="T31" fmla="*/ 116 h 152"/>
                <a:gd name="T32" fmla="*/ 8 w 96"/>
                <a:gd name="T33" fmla="*/ 144 h 152"/>
                <a:gd name="T34" fmla="*/ 44 w 96"/>
                <a:gd name="T35" fmla="*/ 144 h 152"/>
                <a:gd name="T36" fmla="*/ 44 w 96"/>
                <a:gd name="T37" fmla="*/ 140 h 152"/>
                <a:gd name="T38" fmla="*/ 53 w 96"/>
                <a:gd name="T39" fmla="*/ 122 h 152"/>
                <a:gd name="T40" fmla="*/ 81 w 96"/>
                <a:gd name="T41" fmla="*/ 94 h 152"/>
                <a:gd name="T42" fmla="*/ 88 w 96"/>
                <a:gd name="T43" fmla="*/ 80 h 152"/>
                <a:gd name="T44" fmla="*/ 88 w 96"/>
                <a:gd name="T45" fmla="*/ 16 h 152"/>
                <a:gd name="T46" fmla="*/ 80 w 96"/>
                <a:gd name="T47" fmla="*/ 8 h 152"/>
                <a:gd name="T48" fmla="*/ 72 w 96"/>
                <a:gd name="T49" fmla="*/ 16 h 152"/>
                <a:gd name="T50" fmla="*/ 72 w 96"/>
                <a:gd name="T51" fmla="*/ 48 h 152"/>
                <a:gd name="T52" fmla="*/ 64 w 96"/>
                <a:gd name="T53" fmla="*/ 48 h 152"/>
                <a:gd name="T54" fmla="*/ 64 w 96"/>
                <a:gd name="T55" fmla="*/ 16 h 152"/>
                <a:gd name="T56" fmla="*/ 80 w 96"/>
                <a:gd name="T57" fmla="*/ 0 h 152"/>
                <a:gd name="T58" fmla="*/ 96 w 96"/>
                <a:gd name="T59" fmla="*/ 16 h 152"/>
                <a:gd name="T60" fmla="*/ 96 w 96"/>
                <a:gd name="T61" fmla="*/ 80 h 152"/>
                <a:gd name="T62" fmla="*/ 87 w 96"/>
                <a:gd name="T63" fmla="*/ 99 h 152"/>
                <a:gd name="T64" fmla="*/ 59 w 96"/>
                <a:gd name="T65" fmla="*/ 127 h 152"/>
                <a:gd name="T66" fmla="*/ 52 w 96"/>
                <a:gd name="T67" fmla="*/ 140 h 152"/>
                <a:gd name="T68" fmla="*/ 52 w 96"/>
                <a:gd name="T6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6" h="152">
                  <a:moveTo>
                    <a:pt x="52" y="152"/>
                  </a:moveTo>
                  <a:cubicBezTo>
                    <a:pt x="0" y="152"/>
                    <a:pt x="0" y="152"/>
                    <a:pt x="0" y="152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16"/>
                    <a:pt x="0" y="103"/>
                    <a:pt x="9" y="94"/>
                  </a:cubicBezTo>
                  <a:cubicBezTo>
                    <a:pt x="50" y="52"/>
                    <a:pt x="50" y="52"/>
                    <a:pt x="50" y="52"/>
                  </a:cubicBezTo>
                  <a:cubicBezTo>
                    <a:pt x="56" y="52"/>
                    <a:pt x="56" y="52"/>
                    <a:pt x="56" y="52"/>
                  </a:cubicBezTo>
                  <a:cubicBezTo>
                    <a:pt x="65" y="52"/>
                    <a:pt x="72" y="60"/>
                    <a:pt x="72" y="68"/>
                  </a:cubicBezTo>
                  <a:cubicBezTo>
                    <a:pt x="72" y="74"/>
                    <a:pt x="72" y="74"/>
                    <a:pt x="72" y="74"/>
                  </a:cubicBezTo>
                  <a:cubicBezTo>
                    <a:pt x="43" y="103"/>
                    <a:pt x="43" y="103"/>
                    <a:pt x="43" y="103"/>
                  </a:cubicBezTo>
                  <a:cubicBezTo>
                    <a:pt x="37" y="98"/>
                    <a:pt x="37" y="98"/>
                    <a:pt x="37" y="98"/>
                  </a:cubicBezTo>
                  <a:cubicBezTo>
                    <a:pt x="64" y="71"/>
                    <a:pt x="64" y="71"/>
                    <a:pt x="64" y="71"/>
                  </a:cubicBezTo>
                  <a:cubicBezTo>
                    <a:pt x="64" y="68"/>
                    <a:pt x="64" y="68"/>
                    <a:pt x="64" y="68"/>
                  </a:cubicBezTo>
                  <a:cubicBezTo>
                    <a:pt x="64" y="64"/>
                    <a:pt x="60" y="60"/>
                    <a:pt x="56" y="60"/>
                  </a:cubicBezTo>
                  <a:cubicBezTo>
                    <a:pt x="53" y="60"/>
                    <a:pt x="53" y="60"/>
                    <a:pt x="53" y="60"/>
                  </a:cubicBezTo>
                  <a:cubicBezTo>
                    <a:pt x="15" y="99"/>
                    <a:pt x="15" y="99"/>
                    <a:pt x="15" y="99"/>
                  </a:cubicBezTo>
                  <a:cubicBezTo>
                    <a:pt x="8" y="106"/>
                    <a:pt x="8" y="116"/>
                    <a:pt x="8" y="116"/>
                  </a:cubicBezTo>
                  <a:cubicBezTo>
                    <a:pt x="8" y="144"/>
                    <a:pt x="8" y="144"/>
                    <a:pt x="8" y="144"/>
                  </a:cubicBezTo>
                  <a:cubicBezTo>
                    <a:pt x="44" y="144"/>
                    <a:pt x="44" y="144"/>
                    <a:pt x="44" y="144"/>
                  </a:cubicBezTo>
                  <a:cubicBezTo>
                    <a:pt x="44" y="140"/>
                    <a:pt x="44" y="140"/>
                    <a:pt x="44" y="140"/>
                  </a:cubicBezTo>
                  <a:cubicBezTo>
                    <a:pt x="44" y="140"/>
                    <a:pt x="44" y="131"/>
                    <a:pt x="53" y="122"/>
                  </a:cubicBezTo>
                  <a:cubicBezTo>
                    <a:pt x="81" y="94"/>
                    <a:pt x="81" y="94"/>
                    <a:pt x="81" y="94"/>
                  </a:cubicBezTo>
                  <a:cubicBezTo>
                    <a:pt x="88" y="87"/>
                    <a:pt x="88" y="81"/>
                    <a:pt x="88" y="80"/>
                  </a:cubicBezTo>
                  <a:cubicBezTo>
                    <a:pt x="88" y="16"/>
                    <a:pt x="88" y="16"/>
                    <a:pt x="88" y="16"/>
                  </a:cubicBezTo>
                  <a:cubicBezTo>
                    <a:pt x="88" y="12"/>
                    <a:pt x="84" y="8"/>
                    <a:pt x="80" y="8"/>
                  </a:cubicBezTo>
                  <a:cubicBezTo>
                    <a:pt x="75" y="8"/>
                    <a:pt x="72" y="12"/>
                    <a:pt x="72" y="16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64" y="16"/>
                    <a:pt x="64" y="16"/>
                    <a:pt x="64" y="16"/>
                  </a:cubicBezTo>
                  <a:cubicBezTo>
                    <a:pt x="64" y="8"/>
                    <a:pt x="71" y="0"/>
                    <a:pt x="80" y="0"/>
                  </a:cubicBezTo>
                  <a:cubicBezTo>
                    <a:pt x="89" y="0"/>
                    <a:pt x="96" y="8"/>
                    <a:pt x="96" y="16"/>
                  </a:cubicBezTo>
                  <a:cubicBezTo>
                    <a:pt x="96" y="80"/>
                    <a:pt x="96" y="80"/>
                    <a:pt x="96" y="80"/>
                  </a:cubicBezTo>
                  <a:cubicBezTo>
                    <a:pt x="96" y="81"/>
                    <a:pt x="96" y="90"/>
                    <a:pt x="87" y="99"/>
                  </a:cubicBezTo>
                  <a:cubicBezTo>
                    <a:pt x="59" y="127"/>
                    <a:pt x="59" y="127"/>
                    <a:pt x="59" y="127"/>
                  </a:cubicBezTo>
                  <a:cubicBezTo>
                    <a:pt x="52" y="134"/>
                    <a:pt x="52" y="140"/>
                    <a:pt x="52" y="140"/>
                  </a:cubicBezTo>
                  <a:lnTo>
                    <a:pt x="52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3" name="Freeform 471"/>
            <p:cNvSpPr>
              <a:spLocks/>
            </p:cNvSpPr>
            <p:nvPr/>
          </p:nvSpPr>
          <p:spPr bwMode="auto">
            <a:xfrm>
              <a:off x="8448675" y="4849813"/>
              <a:ext cx="131763" cy="61913"/>
            </a:xfrm>
            <a:custGeom>
              <a:avLst/>
              <a:gdLst>
                <a:gd name="T0" fmla="*/ 68 w 68"/>
                <a:gd name="T1" fmla="*/ 32 h 32"/>
                <a:gd name="T2" fmla="*/ 60 w 68"/>
                <a:gd name="T3" fmla="*/ 32 h 32"/>
                <a:gd name="T4" fmla="*/ 60 w 68"/>
                <a:gd name="T5" fmla="*/ 8 h 32"/>
                <a:gd name="T6" fmla="*/ 8 w 68"/>
                <a:gd name="T7" fmla="*/ 8 h 32"/>
                <a:gd name="T8" fmla="*/ 8 w 68"/>
                <a:gd name="T9" fmla="*/ 32 h 32"/>
                <a:gd name="T10" fmla="*/ 0 w 68"/>
                <a:gd name="T11" fmla="*/ 32 h 32"/>
                <a:gd name="T12" fmla="*/ 0 w 68"/>
                <a:gd name="T13" fmla="*/ 8 h 32"/>
                <a:gd name="T14" fmla="*/ 8 w 68"/>
                <a:gd name="T15" fmla="*/ 0 h 32"/>
                <a:gd name="T16" fmla="*/ 60 w 68"/>
                <a:gd name="T17" fmla="*/ 0 h 32"/>
                <a:gd name="T18" fmla="*/ 68 w 68"/>
                <a:gd name="T19" fmla="*/ 8 h 32"/>
                <a:gd name="T20" fmla="*/ 68 w 68"/>
                <a:gd name="T21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8" h="32">
                  <a:moveTo>
                    <a:pt x="68" y="32"/>
                  </a:moveTo>
                  <a:cubicBezTo>
                    <a:pt x="60" y="32"/>
                    <a:pt x="60" y="32"/>
                    <a:pt x="60" y="32"/>
                  </a:cubicBezTo>
                  <a:cubicBezTo>
                    <a:pt x="60" y="8"/>
                    <a:pt x="60" y="8"/>
                    <a:pt x="60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3" y="0"/>
                    <a:pt x="8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4" y="0"/>
                    <a:pt x="68" y="4"/>
                    <a:pt x="68" y="8"/>
                  </a:cubicBezTo>
                  <a:lnTo>
                    <a:pt x="6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4" name="Freeform 472"/>
            <p:cNvSpPr>
              <a:spLocks/>
            </p:cNvSpPr>
            <p:nvPr/>
          </p:nvSpPr>
          <p:spPr bwMode="auto">
            <a:xfrm>
              <a:off x="8224838" y="4849813"/>
              <a:ext cx="131763" cy="61913"/>
            </a:xfrm>
            <a:custGeom>
              <a:avLst/>
              <a:gdLst>
                <a:gd name="T0" fmla="*/ 68 w 68"/>
                <a:gd name="T1" fmla="*/ 32 h 32"/>
                <a:gd name="T2" fmla="*/ 60 w 68"/>
                <a:gd name="T3" fmla="*/ 32 h 32"/>
                <a:gd name="T4" fmla="*/ 60 w 68"/>
                <a:gd name="T5" fmla="*/ 8 h 32"/>
                <a:gd name="T6" fmla="*/ 8 w 68"/>
                <a:gd name="T7" fmla="*/ 8 h 32"/>
                <a:gd name="T8" fmla="*/ 8 w 68"/>
                <a:gd name="T9" fmla="*/ 32 h 32"/>
                <a:gd name="T10" fmla="*/ 0 w 68"/>
                <a:gd name="T11" fmla="*/ 32 h 32"/>
                <a:gd name="T12" fmla="*/ 0 w 68"/>
                <a:gd name="T13" fmla="*/ 8 h 32"/>
                <a:gd name="T14" fmla="*/ 8 w 68"/>
                <a:gd name="T15" fmla="*/ 0 h 32"/>
                <a:gd name="T16" fmla="*/ 60 w 68"/>
                <a:gd name="T17" fmla="*/ 0 h 32"/>
                <a:gd name="T18" fmla="*/ 68 w 68"/>
                <a:gd name="T19" fmla="*/ 8 h 32"/>
                <a:gd name="T20" fmla="*/ 68 w 68"/>
                <a:gd name="T21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8" h="32">
                  <a:moveTo>
                    <a:pt x="68" y="32"/>
                  </a:moveTo>
                  <a:cubicBezTo>
                    <a:pt x="60" y="32"/>
                    <a:pt x="60" y="32"/>
                    <a:pt x="60" y="32"/>
                  </a:cubicBezTo>
                  <a:cubicBezTo>
                    <a:pt x="60" y="8"/>
                    <a:pt x="60" y="8"/>
                    <a:pt x="60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3" y="0"/>
                    <a:pt x="8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4" y="0"/>
                    <a:pt x="68" y="4"/>
                    <a:pt x="68" y="8"/>
                  </a:cubicBezTo>
                  <a:lnTo>
                    <a:pt x="6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05" name="Группа 104"/>
          <p:cNvGrpSpPr/>
          <p:nvPr/>
        </p:nvGrpSpPr>
        <p:grpSpPr>
          <a:xfrm>
            <a:off x="7134800" y="1771456"/>
            <a:ext cx="356109" cy="312736"/>
            <a:chOff x="9805988" y="3646488"/>
            <a:chExt cx="495300" cy="434975"/>
          </a:xfrm>
          <a:solidFill>
            <a:schemeClr val="tx1"/>
          </a:solidFill>
        </p:grpSpPr>
        <p:sp>
          <p:nvSpPr>
            <p:cNvPr id="106" name="Line 473"/>
            <p:cNvSpPr>
              <a:spLocks noChangeShapeType="1"/>
            </p:cNvSpPr>
            <p:nvPr/>
          </p:nvSpPr>
          <p:spPr bwMode="auto">
            <a:xfrm>
              <a:off x="9967913" y="3919538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7" name="Line 474"/>
            <p:cNvSpPr>
              <a:spLocks noChangeShapeType="1"/>
            </p:cNvSpPr>
            <p:nvPr/>
          </p:nvSpPr>
          <p:spPr bwMode="auto">
            <a:xfrm>
              <a:off x="9967913" y="3919538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8" name="Freeform 475"/>
            <p:cNvSpPr>
              <a:spLocks noEditPoints="1"/>
            </p:cNvSpPr>
            <p:nvPr/>
          </p:nvSpPr>
          <p:spPr bwMode="auto">
            <a:xfrm>
              <a:off x="10161588" y="3646488"/>
              <a:ext cx="77788" cy="125413"/>
            </a:xfrm>
            <a:custGeom>
              <a:avLst/>
              <a:gdLst>
                <a:gd name="T0" fmla="*/ 20 w 40"/>
                <a:gd name="T1" fmla="*/ 64 h 64"/>
                <a:gd name="T2" fmla="*/ 0 w 40"/>
                <a:gd name="T3" fmla="*/ 44 h 64"/>
                <a:gd name="T4" fmla="*/ 8 w 40"/>
                <a:gd name="T5" fmla="*/ 21 h 64"/>
                <a:gd name="T6" fmla="*/ 16 w 40"/>
                <a:gd name="T7" fmla="*/ 0 h 64"/>
                <a:gd name="T8" fmla="*/ 24 w 40"/>
                <a:gd name="T9" fmla="*/ 0 h 64"/>
                <a:gd name="T10" fmla="*/ 31 w 40"/>
                <a:gd name="T11" fmla="*/ 21 h 64"/>
                <a:gd name="T12" fmla="*/ 40 w 40"/>
                <a:gd name="T13" fmla="*/ 44 h 64"/>
                <a:gd name="T14" fmla="*/ 20 w 40"/>
                <a:gd name="T15" fmla="*/ 64 h 64"/>
                <a:gd name="T16" fmla="*/ 20 w 40"/>
                <a:gd name="T17" fmla="*/ 15 h 64"/>
                <a:gd name="T18" fmla="*/ 15 w 40"/>
                <a:gd name="T19" fmla="*/ 24 h 64"/>
                <a:gd name="T20" fmla="*/ 8 w 40"/>
                <a:gd name="T21" fmla="*/ 44 h 64"/>
                <a:gd name="T22" fmla="*/ 20 w 40"/>
                <a:gd name="T23" fmla="*/ 56 h 64"/>
                <a:gd name="T24" fmla="*/ 32 w 40"/>
                <a:gd name="T25" fmla="*/ 44 h 64"/>
                <a:gd name="T26" fmla="*/ 24 w 40"/>
                <a:gd name="T27" fmla="*/ 24 h 64"/>
                <a:gd name="T28" fmla="*/ 20 w 40"/>
                <a:gd name="T29" fmla="*/ 15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0" h="64">
                  <a:moveTo>
                    <a:pt x="20" y="64"/>
                  </a:moveTo>
                  <a:cubicBezTo>
                    <a:pt x="5" y="64"/>
                    <a:pt x="0" y="54"/>
                    <a:pt x="0" y="44"/>
                  </a:cubicBezTo>
                  <a:cubicBezTo>
                    <a:pt x="0" y="37"/>
                    <a:pt x="4" y="29"/>
                    <a:pt x="8" y="21"/>
                  </a:cubicBezTo>
                  <a:cubicBezTo>
                    <a:pt x="12" y="13"/>
                    <a:pt x="16" y="5"/>
                    <a:pt x="16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5"/>
                    <a:pt x="28" y="13"/>
                    <a:pt x="31" y="21"/>
                  </a:cubicBezTo>
                  <a:cubicBezTo>
                    <a:pt x="36" y="29"/>
                    <a:pt x="40" y="37"/>
                    <a:pt x="40" y="44"/>
                  </a:cubicBezTo>
                  <a:cubicBezTo>
                    <a:pt x="40" y="54"/>
                    <a:pt x="35" y="64"/>
                    <a:pt x="20" y="64"/>
                  </a:cubicBezTo>
                  <a:close/>
                  <a:moveTo>
                    <a:pt x="20" y="15"/>
                  </a:moveTo>
                  <a:cubicBezTo>
                    <a:pt x="18" y="18"/>
                    <a:pt x="17" y="21"/>
                    <a:pt x="15" y="24"/>
                  </a:cubicBezTo>
                  <a:cubicBezTo>
                    <a:pt x="12" y="32"/>
                    <a:pt x="8" y="39"/>
                    <a:pt x="8" y="44"/>
                  </a:cubicBezTo>
                  <a:cubicBezTo>
                    <a:pt x="8" y="50"/>
                    <a:pt x="10" y="56"/>
                    <a:pt x="20" y="56"/>
                  </a:cubicBezTo>
                  <a:cubicBezTo>
                    <a:pt x="30" y="56"/>
                    <a:pt x="32" y="50"/>
                    <a:pt x="32" y="44"/>
                  </a:cubicBezTo>
                  <a:cubicBezTo>
                    <a:pt x="32" y="39"/>
                    <a:pt x="28" y="32"/>
                    <a:pt x="24" y="24"/>
                  </a:cubicBezTo>
                  <a:cubicBezTo>
                    <a:pt x="23" y="21"/>
                    <a:pt x="21" y="18"/>
                    <a:pt x="20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9" name="Freeform 476"/>
            <p:cNvSpPr>
              <a:spLocks noEditPoints="1"/>
            </p:cNvSpPr>
            <p:nvPr/>
          </p:nvSpPr>
          <p:spPr bwMode="auto">
            <a:xfrm>
              <a:off x="10099675" y="3771901"/>
              <a:ext cx="77788" cy="123825"/>
            </a:xfrm>
            <a:custGeom>
              <a:avLst/>
              <a:gdLst>
                <a:gd name="T0" fmla="*/ 20 w 40"/>
                <a:gd name="T1" fmla="*/ 64 h 64"/>
                <a:gd name="T2" fmla="*/ 0 w 40"/>
                <a:gd name="T3" fmla="*/ 44 h 64"/>
                <a:gd name="T4" fmla="*/ 8 w 40"/>
                <a:gd name="T5" fmla="*/ 21 h 64"/>
                <a:gd name="T6" fmla="*/ 16 w 40"/>
                <a:gd name="T7" fmla="*/ 0 h 64"/>
                <a:gd name="T8" fmla="*/ 24 w 40"/>
                <a:gd name="T9" fmla="*/ 0 h 64"/>
                <a:gd name="T10" fmla="*/ 31 w 40"/>
                <a:gd name="T11" fmla="*/ 21 h 64"/>
                <a:gd name="T12" fmla="*/ 40 w 40"/>
                <a:gd name="T13" fmla="*/ 44 h 64"/>
                <a:gd name="T14" fmla="*/ 20 w 40"/>
                <a:gd name="T15" fmla="*/ 64 h 64"/>
                <a:gd name="T16" fmla="*/ 20 w 40"/>
                <a:gd name="T17" fmla="*/ 15 h 64"/>
                <a:gd name="T18" fmla="*/ 15 w 40"/>
                <a:gd name="T19" fmla="*/ 24 h 64"/>
                <a:gd name="T20" fmla="*/ 8 w 40"/>
                <a:gd name="T21" fmla="*/ 44 h 64"/>
                <a:gd name="T22" fmla="*/ 20 w 40"/>
                <a:gd name="T23" fmla="*/ 56 h 64"/>
                <a:gd name="T24" fmla="*/ 32 w 40"/>
                <a:gd name="T25" fmla="*/ 44 h 64"/>
                <a:gd name="T26" fmla="*/ 24 w 40"/>
                <a:gd name="T27" fmla="*/ 24 h 64"/>
                <a:gd name="T28" fmla="*/ 20 w 40"/>
                <a:gd name="T29" fmla="*/ 15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0" h="64">
                  <a:moveTo>
                    <a:pt x="20" y="64"/>
                  </a:moveTo>
                  <a:cubicBezTo>
                    <a:pt x="5" y="64"/>
                    <a:pt x="0" y="54"/>
                    <a:pt x="0" y="44"/>
                  </a:cubicBezTo>
                  <a:cubicBezTo>
                    <a:pt x="0" y="37"/>
                    <a:pt x="4" y="29"/>
                    <a:pt x="8" y="21"/>
                  </a:cubicBezTo>
                  <a:cubicBezTo>
                    <a:pt x="12" y="13"/>
                    <a:pt x="16" y="5"/>
                    <a:pt x="16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5"/>
                    <a:pt x="28" y="13"/>
                    <a:pt x="31" y="21"/>
                  </a:cubicBezTo>
                  <a:cubicBezTo>
                    <a:pt x="36" y="29"/>
                    <a:pt x="40" y="37"/>
                    <a:pt x="40" y="44"/>
                  </a:cubicBezTo>
                  <a:cubicBezTo>
                    <a:pt x="40" y="54"/>
                    <a:pt x="35" y="64"/>
                    <a:pt x="20" y="64"/>
                  </a:cubicBezTo>
                  <a:close/>
                  <a:moveTo>
                    <a:pt x="20" y="15"/>
                  </a:moveTo>
                  <a:cubicBezTo>
                    <a:pt x="18" y="18"/>
                    <a:pt x="17" y="21"/>
                    <a:pt x="15" y="24"/>
                  </a:cubicBezTo>
                  <a:cubicBezTo>
                    <a:pt x="12" y="32"/>
                    <a:pt x="8" y="39"/>
                    <a:pt x="8" y="44"/>
                  </a:cubicBezTo>
                  <a:cubicBezTo>
                    <a:pt x="8" y="50"/>
                    <a:pt x="10" y="56"/>
                    <a:pt x="20" y="56"/>
                  </a:cubicBezTo>
                  <a:cubicBezTo>
                    <a:pt x="30" y="56"/>
                    <a:pt x="32" y="50"/>
                    <a:pt x="32" y="44"/>
                  </a:cubicBezTo>
                  <a:cubicBezTo>
                    <a:pt x="32" y="39"/>
                    <a:pt x="28" y="32"/>
                    <a:pt x="24" y="24"/>
                  </a:cubicBezTo>
                  <a:cubicBezTo>
                    <a:pt x="23" y="21"/>
                    <a:pt x="21" y="18"/>
                    <a:pt x="20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0" name="Freeform 477"/>
            <p:cNvSpPr>
              <a:spLocks noEditPoints="1"/>
            </p:cNvSpPr>
            <p:nvPr/>
          </p:nvSpPr>
          <p:spPr bwMode="auto">
            <a:xfrm>
              <a:off x="9991725" y="3694113"/>
              <a:ext cx="77788" cy="123825"/>
            </a:xfrm>
            <a:custGeom>
              <a:avLst/>
              <a:gdLst>
                <a:gd name="T0" fmla="*/ 20 w 40"/>
                <a:gd name="T1" fmla="*/ 64 h 64"/>
                <a:gd name="T2" fmla="*/ 0 w 40"/>
                <a:gd name="T3" fmla="*/ 44 h 64"/>
                <a:gd name="T4" fmla="*/ 8 w 40"/>
                <a:gd name="T5" fmla="*/ 21 h 64"/>
                <a:gd name="T6" fmla="*/ 16 w 40"/>
                <a:gd name="T7" fmla="*/ 0 h 64"/>
                <a:gd name="T8" fmla="*/ 24 w 40"/>
                <a:gd name="T9" fmla="*/ 0 h 64"/>
                <a:gd name="T10" fmla="*/ 31 w 40"/>
                <a:gd name="T11" fmla="*/ 21 h 64"/>
                <a:gd name="T12" fmla="*/ 40 w 40"/>
                <a:gd name="T13" fmla="*/ 44 h 64"/>
                <a:gd name="T14" fmla="*/ 20 w 40"/>
                <a:gd name="T15" fmla="*/ 64 h 64"/>
                <a:gd name="T16" fmla="*/ 20 w 40"/>
                <a:gd name="T17" fmla="*/ 15 h 64"/>
                <a:gd name="T18" fmla="*/ 15 w 40"/>
                <a:gd name="T19" fmla="*/ 24 h 64"/>
                <a:gd name="T20" fmla="*/ 8 w 40"/>
                <a:gd name="T21" fmla="*/ 44 h 64"/>
                <a:gd name="T22" fmla="*/ 20 w 40"/>
                <a:gd name="T23" fmla="*/ 56 h 64"/>
                <a:gd name="T24" fmla="*/ 32 w 40"/>
                <a:gd name="T25" fmla="*/ 44 h 64"/>
                <a:gd name="T26" fmla="*/ 24 w 40"/>
                <a:gd name="T27" fmla="*/ 24 h 64"/>
                <a:gd name="T28" fmla="*/ 20 w 40"/>
                <a:gd name="T29" fmla="*/ 15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0" h="64">
                  <a:moveTo>
                    <a:pt x="20" y="64"/>
                  </a:moveTo>
                  <a:cubicBezTo>
                    <a:pt x="5" y="64"/>
                    <a:pt x="0" y="54"/>
                    <a:pt x="0" y="44"/>
                  </a:cubicBezTo>
                  <a:cubicBezTo>
                    <a:pt x="0" y="37"/>
                    <a:pt x="4" y="29"/>
                    <a:pt x="8" y="21"/>
                  </a:cubicBezTo>
                  <a:cubicBezTo>
                    <a:pt x="12" y="13"/>
                    <a:pt x="16" y="5"/>
                    <a:pt x="16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5"/>
                    <a:pt x="28" y="13"/>
                    <a:pt x="31" y="21"/>
                  </a:cubicBezTo>
                  <a:cubicBezTo>
                    <a:pt x="36" y="29"/>
                    <a:pt x="40" y="37"/>
                    <a:pt x="40" y="44"/>
                  </a:cubicBezTo>
                  <a:cubicBezTo>
                    <a:pt x="40" y="54"/>
                    <a:pt x="35" y="64"/>
                    <a:pt x="20" y="64"/>
                  </a:cubicBezTo>
                  <a:close/>
                  <a:moveTo>
                    <a:pt x="20" y="15"/>
                  </a:moveTo>
                  <a:cubicBezTo>
                    <a:pt x="18" y="18"/>
                    <a:pt x="17" y="21"/>
                    <a:pt x="15" y="24"/>
                  </a:cubicBezTo>
                  <a:cubicBezTo>
                    <a:pt x="12" y="32"/>
                    <a:pt x="8" y="39"/>
                    <a:pt x="8" y="44"/>
                  </a:cubicBezTo>
                  <a:cubicBezTo>
                    <a:pt x="8" y="50"/>
                    <a:pt x="10" y="56"/>
                    <a:pt x="20" y="56"/>
                  </a:cubicBezTo>
                  <a:cubicBezTo>
                    <a:pt x="30" y="56"/>
                    <a:pt x="32" y="50"/>
                    <a:pt x="32" y="44"/>
                  </a:cubicBezTo>
                  <a:cubicBezTo>
                    <a:pt x="32" y="39"/>
                    <a:pt x="28" y="32"/>
                    <a:pt x="24" y="24"/>
                  </a:cubicBezTo>
                  <a:cubicBezTo>
                    <a:pt x="23" y="21"/>
                    <a:pt x="21" y="18"/>
                    <a:pt x="20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1" name="Line 478"/>
            <p:cNvSpPr>
              <a:spLocks noChangeShapeType="1"/>
            </p:cNvSpPr>
            <p:nvPr/>
          </p:nvSpPr>
          <p:spPr bwMode="auto">
            <a:xfrm>
              <a:off x="9967913" y="3903663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2" name="Line 479"/>
            <p:cNvSpPr>
              <a:spLocks noChangeShapeType="1"/>
            </p:cNvSpPr>
            <p:nvPr/>
          </p:nvSpPr>
          <p:spPr bwMode="auto">
            <a:xfrm>
              <a:off x="9967913" y="3903663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3" name="Freeform 480"/>
            <p:cNvSpPr>
              <a:spLocks/>
            </p:cNvSpPr>
            <p:nvPr/>
          </p:nvSpPr>
          <p:spPr bwMode="auto">
            <a:xfrm>
              <a:off x="9906000" y="3895726"/>
              <a:ext cx="255588" cy="107950"/>
            </a:xfrm>
            <a:custGeom>
              <a:avLst/>
              <a:gdLst>
                <a:gd name="T0" fmla="*/ 64 w 132"/>
                <a:gd name="T1" fmla="*/ 56 h 56"/>
                <a:gd name="T2" fmla="*/ 56 w 132"/>
                <a:gd name="T3" fmla="*/ 56 h 56"/>
                <a:gd name="T4" fmla="*/ 72 w 132"/>
                <a:gd name="T5" fmla="*/ 40 h 56"/>
                <a:gd name="T6" fmla="*/ 116 w 132"/>
                <a:gd name="T7" fmla="*/ 40 h 56"/>
                <a:gd name="T8" fmla="*/ 124 w 132"/>
                <a:gd name="T9" fmla="*/ 32 h 56"/>
                <a:gd name="T10" fmla="*/ 116 w 132"/>
                <a:gd name="T11" fmla="*/ 24 h 56"/>
                <a:gd name="T12" fmla="*/ 79 w 132"/>
                <a:gd name="T13" fmla="*/ 24 h 56"/>
                <a:gd name="T14" fmla="*/ 35 w 132"/>
                <a:gd name="T15" fmla="*/ 8 h 56"/>
                <a:gd name="T16" fmla="*/ 0 w 132"/>
                <a:gd name="T17" fmla="*/ 8 h 56"/>
                <a:gd name="T18" fmla="*/ 0 w 132"/>
                <a:gd name="T19" fmla="*/ 0 h 56"/>
                <a:gd name="T20" fmla="*/ 36 w 132"/>
                <a:gd name="T21" fmla="*/ 0 h 56"/>
                <a:gd name="T22" fmla="*/ 80 w 132"/>
                <a:gd name="T23" fmla="*/ 16 h 56"/>
                <a:gd name="T24" fmla="*/ 116 w 132"/>
                <a:gd name="T25" fmla="*/ 16 h 56"/>
                <a:gd name="T26" fmla="*/ 132 w 132"/>
                <a:gd name="T27" fmla="*/ 32 h 56"/>
                <a:gd name="T28" fmla="*/ 116 w 132"/>
                <a:gd name="T29" fmla="*/ 48 h 56"/>
                <a:gd name="T30" fmla="*/ 72 w 132"/>
                <a:gd name="T31" fmla="*/ 48 h 56"/>
                <a:gd name="T32" fmla="*/ 64 w 132"/>
                <a:gd name="T33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2" h="56">
                  <a:moveTo>
                    <a:pt x="64" y="56"/>
                  </a:moveTo>
                  <a:cubicBezTo>
                    <a:pt x="56" y="56"/>
                    <a:pt x="56" y="56"/>
                    <a:pt x="56" y="56"/>
                  </a:cubicBezTo>
                  <a:cubicBezTo>
                    <a:pt x="56" y="48"/>
                    <a:pt x="63" y="40"/>
                    <a:pt x="72" y="40"/>
                  </a:cubicBezTo>
                  <a:cubicBezTo>
                    <a:pt x="116" y="40"/>
                    <a:pt x="116" y="40"/>
                    <a:pt x="116" y="40"/>
                  </a:cubicBezTo>
                  <a:cubicBezTo>
                    <a:pt x="120" y="40"/>
                    <a:pt x="124" y="37"/>
                    <a:pt x="124" y="32"/>
                  </a:cubicBezTo>
                  <a:cubicBezTo>
                    <a:pt x="124" y="28"/>
                    <a:pt x="120" y="24"/>
                    <a:pt x="116" y="24"/>
                  </a:cubicBezTo>
                  <a:cubicBezTo>
                    <a:pt x="79" y="24"/>
                    <a:pt x="79" y="24"/>
                    <a:pt x="79" y="24"/>
                  </a:cubicBezTo>
                  <a:cubicBezTo>
                    <a:pt x="35" y="8"/>
                    <a:pt x="35" y="8"/>
                    <a:pt x="35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80" y="16"/>
                    <a:pt x="80" y="16"/>
                    <a:pt x="80" y="16"/>
                  </a:cubicBezTo>
                  <a:cubicBezTo>
                    <a:pt x="116" y="16"/>
                    <a:pt x="116" y="16"/>
                    <a:pt x="116" y="16"/>
                  </a:cubicBezTo>
                  <a:cubicBezTo>
                    <a:pt x="125" y="16"/>
                    <a:pt x="132" y="24"/>
                    <a:pt x="132" y="32"/>
                  </a:cubicBezTo>
                  <a:cubicBezTo>
                    <a:pt x="132" y="41"/>
                    <a:pt x="125" y="48"/>
                    <a:pt x="116" y="48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67" y="48"/>
                    <a:pt x="64" y="52"/>
                    <a:pt x="64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4" name="Freeform 481"/>
            <p:cNvSpPr>
              <a:spLocks/>
            </p:cNvSpPr>
            <p:nvPr/>
          </p:nvSpPr>
          <p:spPr bwMode="auto">
            <a:xfrm>
              <a:off x="9913938" y="3925888"/>
              <a:ext cx="387350" cy="155575"/>
            </a:xfrm>
            <a:custGeom>
              <a:avLst/>
              <a:gdLst>
                <a:gd name="T0" fmla="*/ 93 w 200"/>
                <a:gd name="T1" fmla="*/ 80 h 80"/>
                <a:gd name="T2" fmla="*/ 83 w 200"/>
                <a:gd name="T3" fmla="*/ 80 h 80"/>
                <a:gd name="T4" fmla="*/ 82 w 200"/>
                <a:gd name="T5" fmla="*/ 80 h 80"/>
                <a:gd name="T6" fmla="*/ 15 w 200"/>
                <a:gd name="T7" fmla="*/ 56 h 80"/>
                <a:gd name="T8" fmla="*/ 0 w 200"/>
                <a:gd name="T9" fmla="*/ 56 h 80"/>
                <a:gd name="T10" fmla="*/ 0 w 200"/>
                <a:gd name="T11" fmla="*/ 48 h 80"/>
                <a:gd name="T12" fmla="*/ 16 w 200"/>
                <a:gd name="T13" fmla="*/ 48 h 80"/>
                <a:gd name="T14" fmla="*/ 17 w 200"/>
                <a:gd name="T15" fmla="*/ 49 h 80"/>
                <a:gd name="T16" fmla="*/ 84 w 200"/>
                <a:gd name="T17" fmla="*/ 72 h 80"/>
                <a:gd name="T18" fmla="*/ 91 w 200"/>
                <a:gd name="T19" fmla="*/ 72 h 80"/>
                <a:gd name="T20" fmla="*/ 189 w 200"/>
                <a:gd name="T21" fmla="*/ 21 h 80"/>
                <a:gd name="T22" fmla="*/ 192 w 200"/>
                <a:gd name="T23" fmla="*/ 16 h 80"/>
                <a:gd name="T24" fmla="*/ 184 w 200"/>
                <a:gd name="T25" fmla="*/ 8 h 80"/>
                <a:gd name="T26" fmla="*/ 121 w 200"/>
                <a:gd name="T27" fmla="*/ 28 h 80"/>
                <a:gd name="T28" fmla="*/ 119 w 200"/>
                <a:gd name="T29" fmla="*/ 21 h 80"/>
                <a:gd name="T30" fmla="*/ 184 w 200"/>
                <a:gd name="T31" fmla="*/ 0 h 80"/>
                <a:gd name="T32" fmla="*/ 200 w 200"/>
                <a:gd name="T33" fmla="*/ 16 h 80"/>
                <a:gd name="T34" fmla="*/ 195 w 200"/>
                <a:gd name="T35" fmla="*/ 27 h 80"/>
                <a:gd name="T36" fmla="*/ 194 w 200"/>
                <a:gd name="T37" fmla="*/ 28 h 80"/>
                <a:gd name="T38" fmla="*/ 93 w 200"/>
                <a:gd name="T39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00" h="80">
                  <a:moveTo>
                    <a:pt x="93" y="80"/>
                  </a:moveTo>
                  <a:cubicBezTo>
                    <a:pt x="83" y="80"/>
                    <a:pt x="83" y="80"/>
                    <a:pt x="83" y="80"/>
                  </a:cubicBezTo>
                  <a:cubicBezTo>
                    <a:pt x="82" y="80"/>
                    <a:pt x="82" y="80"/>
                    <a:pt x="82" y="80"/>
                  </a:cubicBezTo>
                  <a:cubicBezTo>
                    <a:pt x="15" y="56"/>
                    <a:pt x="15" y="56"/>
                    <a:pt x="15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84" y="72"/>
                    <a:pt x="84" y="72"/>
                    <a:pt x="84" y="72"/>
                  </a:cubicBezTo>
                  <a:cubicBezTo>
                    <a:pt x="91" y="72"/>
                    <a:pt x="91" y="72"/>
                    <a:pt x="91" y="72"/>
                  </a:cubicBezTo>
                  <a:cubicBezTo>
                    <a:pt x="189" y="21"/>
                    <a:pt x="189" y="21"/>
                    <a:pt x="189" y="21"/>
                  </a:cubicBezTo>
                  <a:cubicBezTo>
                    <a:pt x="190" y="20"/>
                    <a:pt x="192" y="18"/>
                    <a:pt x="192" y="16"/>
                  </a:cubicBezTo>
                  <a:cubicBezTo>
                    <a:pt x="192" y="12"/>
                    <a:pt x="188" y="9"/>
                    <a:pt x="184" y="8"/>
                  </a:cubicBezTo>
                  <a:cubicBezTo>
                    <a:pt x="121" y="28"/>
                    <a:pt x="121" y="28"/>
                    <a:pt x="121" y="28"/>
                  </a:cubicBezTo>
                  <a:cubicBezTo>
                    <a:pt x="119" y="21"/>
                    <a:pt x="119" y="21"/>
                    <a:pt x="119" y="21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93" y="0"/>
                    <a:pt x="200" y="8"/>
                    <a:pt x="200" y="16"/>
                  </a:cubicBezTo>
                  <a:cubicBezTo>
                    <a:pt x="200" y="22"/>
                    <a:pt x="195" y="27"/>
                    <a:pt x="195" y="27"/>
                  </a:cubicBezTo>
                  <a:cubicBezTo>
                    <a:pt x="194" y="28"/>
                    <a:pt x="194" y="28"/>
                    <a:pt x="194" y="28"/>
                  </a:cubicBezTo>
                  <a:lnTo>
                    <a:pt x="93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5" name="Rectangle 482"/>
            <p:cNvSpPr>
              <a:spLocks noChangeArrowheads="1"/>
            </p:cNvSpPr>
            <p:nvPr/>
          </p:nvSpPr>
          <p:spPr bwMode="auto">
            <a:xfrm>
              <a:off x="9867900" y="4003676"/>
              <a:ext cx="158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6" name="Rectangle 483"/>
            <p:cNvSpPr>
              <a:spLocks noChangeArrowheads="1"/>
            </p:cNvSpPr>
            <p:nvPr/>
          </p:nvSpPr>
          <p:spPr bwMode="auto">
            <a:xfrm>
              <a:off x="9836150" y="4003676"/>
              <a:ext cx="158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7" name="Freeform 484"/>
            <p:cNvSpPr>
              <a:spLocks/>
            </p:cNvSpPr>
            <p:nvPr/>
          </p:nvSpPr>
          <p:spPr bwMode="auto">
            <a:xfrm>
              <a:off x="9805988" y="3879851"/>
              <a:ext cx="107950" cy="171450"/>
            </a:xfrm>
            <a:custGeom>
              <a:avLst/>
              <a:gdLst>
                <a:gd name="T0" fmla="*/ 48 w 56"/>
                <a:gd name="T1" fmla="*/ 88 h 88"/>
                <a:gd name="T2" fmla="*/ 0 w 56"/>
                <a:gd name="T3" fmla="*/ 88 h 88"/>
                <a:gd name="T4" fmla="*/ 0 w 56"/>
                <a:gd name="T5" fmla="*/ 80 h 88"/>
                <a:gd name="T6" fmla="*/ 48 w 56"/>
                <a:gd name="T7" fmla="*/ 80 h 88"/>
                <a:gd name="T8" fmla="*/ 48 w 56"/>
                <a:gd name="T9" fmla="*/ 8 h 88"/>
                <a:gd name="T10" fmla="*/ 0 w 56"/>
                <a:gd name="T11" fmla="*/ 8 h 88"/>
                <a:gd name="T12" fmla="*/ 0 w 56"/>
                <a:gd name="T13" fmla="*/ 0 h 88"/>
                <a:gd name="T14" fmla="*/ 48 w 56"/>
                <a:gd name="T15" fmla="*/ 0 h 88"/>
                <a:gd name="T16" fmla="*/ 56 w 56"/>
                <a:gd name="T17" fmla="*/ 8 h 88"/>
                <a:gd name="T18" fmla="*/ 56 w 56"/>
                <a:gd name="T19" fmla="*/ 80 h 88"/>
                <a:gd name="T20" fmla="*/ 48 w 56"/>
                <a:gd name="T21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" h="88">
                  <a:moveTo>
                    <a:pt x="48" y="88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48" y="80"/>
                    <a:pt x="48" y="80"/>
                    <a:pt x="48" y="80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52" y="0"/>
                    <a:pt x="56" y="4"/>
                    <a:pt x="56" y="8"/>
                  </a:cubicBezTo>
                  <a:cubicBezTo>
                    <a:pt x="56" y="80"/>
                    <a:pt x="56" y="80"/>
                    <a:pt x="56" y="80"/>
                  </a:cubicBezTo>
                  <a:cubicBezTo>
                    <a:pt x="56" y="85"/>
                    <a:pt x="52" y="88"/>
                    <a:pt x="48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143" name="Полилиния 142"/>
          <p:cNvSpPr/>
          <p:nvPr/>
        </p:nvSpPr>
        <p:spPr>
          <a:xfrm>
            <a:off x="508399" y="2216211"/>
            <a:ext cx="2644819" cy="720002"/>
          </a:xfrm>
          <a:custGeom>
            <a:avLst/>
            <a:gdLst>
              <a:gd name="connsiteX0" fmla="*/ 0 w 3891394"/>
              <a:gd name="connsiteY0" fmla="*/ 0 h 720002"/>
              <a:gd name="connsiteX1" fmla="*/ 3891394 w 3891394"/>
              <a:gd name="connsiteY1" fmla="*/ 0 h 720002"/>
              <a:gd name="connsiteX2" fmla="*/ 3891394 w 3891394"/>
              <a:gd name="connsiteY2" fmla="*/ 720002 h 720002"/>
              <a:gd name="connsiteX3" fmla="*/ 0 w 3891394"/>
              <a:gd name="connsiteY3" fmla="*/ 720002 h 720002"/>
              <a:gd name="connsiteX4" fmla="*/ 0 w 3891394"/>
              <a:gd name="connsiteY4" fmla="*/ 0 h 720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91394" h="720002">
                <a:moveTo>
                  <a:pt x="0" y="0"/>
                </a:moveTo>
                <a:lnTo>
                  <a:pt x="3891394" y="0"/>
                </a:lnTo>
                <a:lnTo>
                  <a:pt x="3891394" y="720002"/>
                </a:lnTo>
                <a:lnTo>
                  <a:pt x="0" y="720002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38100" rIns="38100" bIns="38100" numCol="1" spcCol="1270" anchor="t" anchorCtr="0">
            <a:noAutofit/>
          </a:bodyPr>
          <a:lstStyle/>
          <a:p>
            <a:pPr lvl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kern="1200" dirty="0" smtClean="0">
                <a:solidFill>
                  <a:srgbClr val="0077C8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Выбросы углеводорода</a:t>
            </a:r>
            <a:endParaRPr lang="ru-RU" sz="1400" b="1" kern="1200" dirty="0">
              <a:solidFill>
                <a:srgbClr val="0077C8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4" name="Полилиния 143"/>
          <p:cNvSpPr/>
          <p:nvPr/>
        </p:nvSpPr>
        <p:spPr>
          <a:xfrm>
            <a:off x="3193123" y="2212736"/>
            <a:ext cx="2567263" cy="720002"/>
          </a:xfrm>
          <a:custGeom>
            <a:avLst/>
            <a:gdLst>
              <a:gd name="connsiteX0" fmla="*/ 0 w 3409200"/>
              <a:gd name="connsiteY0" fmla="*/ 0 h 720002"/>
              <a:gd name="connsiteX1" fmla="*/ 3409200 w 3409200"/>
              <a:gd name="connsiteY1" fmla="*/ 0 h 720002"/>
              <a:gd name="connsiteX2" fmla="*/ 3409200 w 3409200"/>
              <a:gd name="connsiteY2" fmla="*/ 720002 h 720002"/>
              <a:gd name="connsiteX3" fmla="*/ 0 w 3409200"/>
              <a:gd name="connsiteY3" fmla="*/ 720002 h 720002"/>
              <a:gd name="connsiteX4" fmla="*/ 0 w 3409200"/>
              <a:gd name="connsiteY4" fmla="*/ 0 h 720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09200" h="720002">
                <a:moveTo>
                  <a:pt x="0" y="0"/>
                </a:moveTo>
                <a:lnTo>
                  <a:pt x="3409200" y="0"/>
                </a:lnTo>
                <a:lnTo>
                  <a:pt x="3409200" y="720002"/>
                </a:lnTo>
                <a:lnTo>
                  <a:pt x="0" y="720002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38100" rIns="38100" bIns="38100" numCol="1" spcCol="1270" anchor="t" anchorCtr="0">
            <a:noAutofit/>
          </a:bodyPr>
          <a:lstStyle/>
          <a:p>
            <a:pPr marL="90488" lvl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kern="1200" dirty="0">
                <a:solidFill>
                  <a:srgbClr val="0077C8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Энергоэффективность</a:t>
            </a:r>
          </a:p>
        </p:txBody>
      </p:sp>
      <p:sp>
        <p:nvSpPr>
          <p:cNvPr id="145" name="Полилиния 144"/>
          <p:cNvSpPr/>
          <p:nvPr/>
        </p:nvSpPr>
        <p:spPr>
          <a:xfrm>
            <a:off x="6126136" y="2170694"/>
            <a:ext cx="2385851" cy="720002"/>
          </a:xfrm>
          <a:custGeom>
            <a:avLst/>
            <a:gdLst>
              <a:gd name="connsiteX0" fmla="*/ 0 w 3261205"/>
              <a:gd name="connsiteY0" fmla="*/ 0 h 720002"/>
              <a:gd name="connsiteX1" fmla="*/ 3261205 w 3261205"/>
              <a:gd name="connsiteY1" fmla="*/ 0 h 720002"/>
              <a:gd name="connsiteX2" fmla="*/ 3261205 w 3261205"/>
              <a:gd name="connsiteY2" fmla="*/ 720002 h 720002"/>
              <a:gd name="connsiteX3" fmla="*/ 0 w 3261205"/>
              <a:gd name="connsiteY3" fmla="*/ 720002 h 720002"/>
              <a:gd name="connsiteX4" fmla="*/ 0 w 3261205"/>
              <a:gd name="connsiteY4" fmla="*/ 0 h 720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61205" h="720002">
                <a:moveTo>
                  <a:pt x="0" y="0"/>
                </a:moveTo>
                <a:lnTo>
                  <a:pt x="3261205" y="0"/>
                </a:lnTo>
                <a:lnTo>
                  <a:pt x="3261205" y="720002"/>
                </a:lnTo>
                <a:lnTo>
                  <a:pt x="0" y="720002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38100" rIns="38100" bIns="38100" numCol="1" spcCol="1270" anchor="t" anchorCtr="0">
            <a:noAutofit/>
          </a:bodyPr>
          <a:lstStyle/>
          <a:p>
            <a:pPr lvl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b="1" kern="1200" dirty="0" smtClean="0">
                <a:solidFill>
                  <a:srgbClr val="0077C8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Water</a:t>
            </a:r>
            <a:endParaRPr lang="ru-RU" sz="1600" b="1" kern="1200" dirty="0">
              <a:solidFill>
                <a:srgbClr val="0077C8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6" name="Прямоугольник 145"/>
          <p:cNvSpPr>
            <a:spLocks/>
          </p:cNvSpPr>
          <p:nvPr/>
        </p:nvSpPr>
        <p:spPr>
          <a:xfrm>
            <a:off x="663892" y="2597022"/>
            <a:ext cx="2381580" cy="553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Ins="0" rtlCol="0" anchor="t">
            <a:spAutoFit/>
          </a:bodyPr>
          <a:lstStyle/>
          <a:p>
            <a:pPr defTabSz="666750" eaLnBrk="0">
              <a:defRPr/>
            </a:pPr>
            <a:r>
              <a:rPr lang="en-US" sz="2000" b="1" kern="1200" dirty="0" smtClean="0">
                <a:solidFill>
                  <a:schemeClr val="tx1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10 Mt </a:t>
            </a:r>
          </a:p>
          <a:p>
            <a:pPr lvl="1" indent="0" defTabSz="993775" eaLnBrk="0">
              <a:buClr>
                <a:schemeClr val="tx2"/>
              </a:buClr>
              <a:buSzPct val="100000"/>
              <a:defRPr/>
            </a:pPr>
            <a:r>
              <a:rPr lang="ru-RU" sz="1000" b="1" kern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</a:t>
            </a:r>
            <a:r>
              <a:rPr lang="ru-RU" sz="1000" b="1" kern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ыбросы С0</a:t>
            </a:r>
            <a:r>
              <a:rPr lang="ru-RU" sz="1000" b="1" kern="1200" baseline="-250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  <a:r>
              <a:rPr lang="en-US" sz="1000" b="1" kern="1200" baseline="300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 </a:t>
            </a:r>
            <a:endParaRPr lang="en-US" sz="1000" b="1" kern="1200" dirty="0" smtClean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7" name="Прямоугольник 146"/>
          <p:cNvSpPr>
            <a:spLocks/>
          </p:cNvSpPr>
          <p:nvPr/>
        </p:nvSpPr>
        <p:spPr>
          <a:xfrm>
            <a:off x="6110625" y="2604014"/>
            <a:ext cx="2148419" cy="8925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Ins="0" rtlCol="0" anchor="t">
            <a:spAutoFit/>
          </a:bodyPr>
          <a:lstStyle/>
          <a:p>
            <a:pPr lvl="1" indent="0" defTabSz="666750" eaLnBrk="0">
              <a:defRPr/>
            </a:pPr>
            <a:r>
              <a:rPr lang="en-US" sz="2000" b="1" kern="1200" dirty="0">
                <a:solidFill>
                  <a:schemeClr val="tx1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86%</a:t>
            </a:r>
          </a:p>
          <a:p>
            <a:pPr lvl="1" indent="0" defTabSz="993775" eaLnBrk="0">
              <a:buClr>
                <a:schemeClr val="tx2"/>
              </a:buClr>
              <a:buSzPct val="100000"/>
              <a:defRPr/>
            </a:pPr>
            <a:r>
              <a:rPr lang="ru-RU" sz="1000" b="1" kern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ля повторно используемой воды</a:t>
            </a:r>
            <a:endParaRPr lang="en-US" sz="1000" b="1" kern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1" indent="0" defTabSz="993775" eaLnBrk="0">
              <a:buClr>
                <a:schemeClr val="tx2"/>
              </a:buClr>
              <a:buSzPct val="100000"/>
              <a:defRPr/>
            </a:pPr>
            <a:endParaRPr lang="ru-RU" sz="1200" b="1" kern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8" name="Прямоугольник 147"/>
          <p:cNvSpPr/>
          <p:nvPr/>
        </p:nvSpPr>
        <p:spPr>
          <a:xfrm>
            <a:off x="3325620" y="2571020"/>
            <a:ext cx="2352674" cy="166199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lvl="1" indent="0" defTabSz="666750" eaLnBrk="0">
              <a:defRPr/>
            </a:pPr>
            <a:r>
              <a:rPr lang="en-US" sz="2000" b="1" kern="1200" dirty="0">
                <a:solidFill>
                  <a:schemeClr val="tx1"/>
                </a:solidFill>
                <a:latin typeface="Tahoma" panose="020B0604030504040204" pitchFamily="34" charset="0"/>
                <a:ea typeface="+mn-ea"/>
                <a:cs typeface="Tahoma" panose="020B0604030504040204" pitchFamily="34" charset="0"/>
              </a:rPr>
              <a:t>44% </a:t>
            </a:r>
          </a:p>
          <a:p>
            <a:pPr lvl="1" indent="0" defTabSz="993775" eaLnBrk="0">
              <a:buClr>
                <a:schemeClr val="tx2"/>
              </a:buClr>
              <a:buSzPct val="100000"/>
              <a:defRPr/>
            </a:pPr>
            <a:r>
              <a:rPr lang="ru-RU" sz="1000" b="1" kern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ля электроэнергии из возобновляемых источников</a:t>
            </a:r>
            <a:endParaRPr lang="en-US" sz="1000" b="1" kern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1" indent="0" defTabSz="666750" eaLnBrk="0">
              <a:defRPr/>
            </a:pPr>
            <a:endParaRPr lang="en-US" sz="1400" kern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1" indent="0" defTabSz="666750" eaLnBrk="0">
              <a:defRPr/>
            </a:pPr>
            <a:r>
              <a:rPr lang="en-US" sz="1200" b="1" kern="1200" dirty="0" smtClean="0">
                <a:solidFill>
                  <a:schemeClr val="tx1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2 </a:t>
            </a:r>
            <a:r>
              <a:rPr lang="ru-RU" sz="1200" b="1" kern="1200" dirty="0" smtClean="0">
                <a:solidFill>
                  <a:schemeClr val="tx1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млрд долл.</a:t>
            </a:r>
            <a:r>
              <a:rPr lang="en-US" sz="1200" b="1" kern="1200" baseline="30000" dirty="0" smtClean="0">
                <a:solidFill>
                  <a:schemeClr val="tx1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2</a:t>
            </a:r>
            <a:endParaRPr lang="en-US" sz="1200" b="1" kern="1200" baseline="30000" dirty="0">
              <a:solidFill>
                <a:schemeClr val="tx1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  <a:p>
            <a:pPr lvl="1" indent="0" defTabSz="993775" eaLnBrk="0">
              <a:buClr>
                <a:schemeClr val="tx2"/>
              </a:buClr>
              <a:buSzPct val="100000"/>
              <a:defRPr/>
            </a:pPr>
            <a:r>
              <a:rPr lang="ru-RU" sz="1200" b="1" kern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вестиции в инфраструктурные проекты в 2020-2025</a:t>
            </a:r>
            <a:endParaRPr lang="en-US" sz="1200" b="1" kern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9" name="Овал 148"/>
          <p:cNvSpPr/>
          <p:nvPr/>
        </p:nvSpPr>
        <p:spPr>
          <a:xfrm>
            <a:off x="1466186" y="1696220"/>
            <a:ext cx="465256" cy="465256"/>
          </a:xfrm>
          <a:prstGeom prst="ellipse">
            <a:avLst/>
          </a:prstGeom>
          <a:solidFill>
            <a:srgbClr val="004C97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50" name="Овал 149"/>
          <p:cNvSpPr/>
          <p:nvPr/>
        </p:nvSpPr>
        <p:spPr>
          <a:xfrm>
            <a:off x="4162013" y="1688278"/>
            <a:ext cx="465256" cy="465256"/>
          </a:xfrm>
          <a:prstGeom prst="ellipse">
            <a:avLst/>
          </a:prstGeom>
          <a:solidFill>
            <a:srgbClr val="004C97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51" name="Овал 150"/>
          <p:cNvSpPr/>
          <p:nvPr/>
        </p:nvSpPr>
        <p:spPr>
          <a:xfrm>
            <a:off x="7054029" y="1698737"/>
            <a:ext cx="465256" cy="465256"/>
          </a:xfrm>
          <a:prstGeom prst="ellipse">
            <a:avLst/>
          </a:prstGeom>
          <a:solidFill>
            <a:srgbClr val="004C97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61" name="Title 2"/>
          <p:cNvSpPr txBox="1">
            <a:spLocks/>
          </p:cNvSpPr>
          <p:nvPr/>
        </p:nvSpPr>
        <p:spPr>
          <a:xfrm>
            <a:off x="277525" y="125591"/>
            <a:ext cx="8452800" cy="591096"/>
          </a:xfrm>
          <a:prstGeom prst="rect">
            <a:avLst/>
          </a:prstGeom>
          <a:effectLst/>
        </p:spPr>
        <p:txBody>
          <a:bodyPr vert="horz" wrap="square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rgbClr val="0077C8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 smtClean="0"/>
              <a:t>Подход Норникеля к вопросу изменения климата</a:t>
            </a:r>
            <a:endParaRPr lang="ru-RU" dirty="0"/>
          </a:p>
        </p:txBody>
      </p:sp>
      <p:sp>
        <p:nvSpPr>
          <p:cNvPr id="164" name="Прямоугольник 163"/>
          <p:cNvSpPr/>
          <p:nvPr/>
        </p:nvSpPr>
        <p:spPr>
          <a:xfrm>
            <a:off x="277525" y="1124000"/>
            <a:ext cx="774998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en-US" sz="1400" b="1" kern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2" name="Rectangle 34"/>
          <p:cNvSpPr/>
          <p:nvPr/>
        </p:nvSpPr>
        <p:spPr>
          <a:xfrm>
            <a:off x="293340" y="6301132"/>
            <a:ext cx="684691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i="1" dirty="0" smtClean="0">
                <a:solidFill>
                  <a:schemeClr val="tx2"/>
                </a:solidFill>
              </a:rPr>
              <a:t>Источник</a:t>
            </a:r>
            <a:r>
              <a:rPr lang="en-US" sz="800" i="1" dirty="0" smtClean="0">
                <a:solidFill>
                  <a:schemeClr val="tx2"/>
                </a:solidFill>
              </a:rPr>
              <a:t>: </a:t>
            </a:r>
            <a:r>
              <a:rPr lang="ru-RU" sz="800" i="1" dirty="0" smtClean="0">
                <a:solidFill>
                  <a:schemeClr val="tx2"/>
                </a:solidFill>
              </a:rPr>
              <a:t>данные компании </a:t>
            </a:r>
            <a:endParaRPr lang="en-US" sz="800" i="1" dirty="0">
              <a:solidFill>
                <a:schemeClr val="tx2"/>
              </a:solidFill>
            </a:endParaRPr>
          </a:p>
          <a:p>
            <a:r>
              <a:rPr lang="ru-RU" sz="800" i="1" dirty="0" smtClean="0">
                <a:solidFill>
                  <a:schemeClr val="tx2"/>
                </a:solidFill>
              </a:rPr>
              <a:t>Примечание</a:t>
            </a:r>
            <a:r>
              <a:rPr lang="en-US" sz="800" i="1" dirty="0" smtClean="0">
                <a:solidFill>
                  <a:schemeClr val="tx2"/>
                </a:solidFill>
              </a:rPr>
              <a:t>: </a:t>
            </a:r>
            <a:r>
              <a:rPr lang="en-US" sz="800" i="1" dirty="0">
                <a:solidFill>
                  <a:schemeClr val="tx2"/>
                </a:solidFill>
              </a:rPr>
              <a:t>1. </a:t>
            </a:r>
            <a:r>
              <a:rPr lang="ru-RU" sz="800" i="1" dirty="0" smtClean="0">
                <a:solidFill>
                  <a:schemeClr val="tx2"/>
                </a:solidFill>
              </a:rPr>
              <a:t> Расчет по российской методологии, среди конкурентов компании </a:t>
            </a:r>
            <a:r>
              <a:rPr lang="en-US" sz="800" i="1" dirty="0" smtClean="0">
                <a:solidFill>
                  <a:schemeClr val="tx2"/>
                </a:solidFill>
              </a:rPr>
              <a:t>BHP </a:t>
            </a:r>
            <a:r>
              <a:rPr lang="en-US" sz="800" i="1" dirty="0">
                <a:solidFill>
                  <a:schemeClr val="tx2"/>
                </a:solidFill>
              </a:rPr>
              <a:t>Billiton, Glencore, Rio Tinto, Vale, Anglo American </a:t>
            </a:r>
          </a:p>
          <a:p>
            <a:r>
              <a:rPr lang="en-US" sz="800" i="1" dirty="0">
                <a:solidFill>
                  <a:schemeClr val="tx2"/>
                </a:solidFill>
              </a:rPr>
              <a:t>2. </a:t>
            </a:r>
            <a:r>
              <a:rPr lang="ru-RU" sz="800" i="1" dirty="0" smtClean="0">
                <a:solidFill>
                  <a:schemeClr val="tx2"/>
                </a:solidFill>
              </a:rPr>
              <a:t>Включая инвестиции на разработку газовых проектов</a:t>
            </a:r>
            <a:endParaRPr lang="ru-RU" sz="800" i="1" dirty="0">
              <a:solidFill>
                <a:schemeClr val="tx2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85773" y="4325095"/>
            <a:ext cx="24068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i="1" dirty="0" smtClean="0"/>
              <a:t>Выбросы С0</a:t>
            </a:r>
            <a:r>
              <a:rPr lang="ru-RU" sz="900" i="1" baseline="-25000" dirty="0" smtClean="0"/>
              <a:t>2 (</a:t>
            </a:r>
            <a:r>
              <a:rPr lang="en-US" sz="900" i="1" baseline="-25000" dirty="0" smtClean="0"/>
              <a:t>scope</a:t>
            </a:r>
            <a:r>
              <a:rPr lang="en-US" sz="900" i="1" dirty="0" smtClean="0"/>
              <a:t> 1 </a:t>
            </a:r>
            <a:r>
              <a:rPr lang="ru-RU" sz="900" i="1" dirty="0" smtClean="0"/>
              <a:t>и 2), млн тонн</a:t>
            </a:r>
            <a:endParaRPr lang="en-US" sz="900" i="1" baseline="-25000" dirty="0"/>
          </a:p>
        </p:txBody>
      </p:sp>
      <p:sp>
        <p:nvSpPr>
          <p:cNvPr id="74" name="Равнобедренный треугольник 73"/>
          <p:cNvSpPr/>
          <p:nvPr/>
        </p:nvSpPr>
        <p:spPr>
          <a:xfrm rot="10800000">
            <a:off x="1740382" y="4250132"/>
            <a:ext cx="228600" cy="94674"/>
          </a:xfrm>
          <a:prstGeom prst="triangl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8" name="Равнобедренный треугольник 77"/>
          <p:cNvSpPr/>
          <p:nvPr/>
        </p:nvSpPr>
        <p:spPr>
          <a:xfrm rot="10800000">
            <a:off x="4325797" y="4254033"/>
            <a:ext cx="228600" cy="94674"/>
          </a:xfrm>
          <a:prstGeom prst="triangl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0" name="Равнобедренный треугольник 79"/>
          <p:cNvSpPr/>
          <p:nvPr/>
        </p:nvSpPr>
        <p:spPr>
          <a:xfrm rot="10800000">
            <a:off x="7278082" y="4250132"/>
            <a:ext cx="228600" cy="94674"/>
          </a:xfrm>
          <a:prstGeom prst="triangl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7" name="TextBox 86"/>
          <p:cNvSpPr txBox="1"/>
          <p:nvPr/>
        </p:nvSpPr>
        <p:spPr>
          <a:xfrm>
            <a:off x="6126136" y="4314554"/>
            <a:ext cx="235374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i="1" dirty="0" smtClean="0"/>
              <a:t>Доля повторно используемой воды</a:t>
            </a:r>
            <a:endParaRPr lang="en-US" sz="900" i="1" dirty="0"/>
          </a:p>
        </p:txBody>
      </p:sp>
      <p:graphicFrame>
        <p:nvGraphicFramePr>
          <p:cNvPr id="6" name="Диаграмма 5"/>
          <p:cNvGraphicFramePr/>
          <p:nvPr>
            <p:custDataLst>
              <p:tags r:id="rId1"/>
            </p:custDataLst>
            <p:extLst/>
          </p:nvPr>
        </p:nvGraphicFramePr>
        <p:xfrm>
          <a:off x="6094332" y="4603667"/>
          <a:ext cx="2393143" cy="15644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2" name="Прямоугольник 81"/>
          <p:cNvSpPr>
            <a:spLocks/>
          </p:cNvSpPr>
          <p:nvPr/>
        </p:nvSpPr>
        <p:spPr>
          <a:xfrm>
            <a:off x="6110625" y="3376563"/>
            <a:ext cx="2148419" cy="4616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Ins="0" rtlCol="0" anchor="t">
            <a:spAutoFit/>
          </a:bodyPr>
          <a:lstStyle/>
          <a:p>
            <a:pPr lvl="1" indent="0" defTabSz="993775" eaLnBrk="0">
              <a:buClr>
                <a:schemeClr val="tx2"/>
              </a:buClr>
              <a:buSzPct val="100000"/>
              <a:defRPr/>
            </a:pPr>
            <a:r>
              <a:rPr lang="ru-RU" sz="1200" b="1" kern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ступ к обильным водным ресурсам</a:t>
            </a:r>
            <a:endParaRPr lang="en-US" sz="1200" b="1" kern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0" name="Прямоугольник 145"/>
          <p:cNvSpPr>
            <a:spLocks/>
          </p:cNvSpPr>
          <p:nvPr/>
        </p:nvSpPr>
        <p:spPr>
          <a:xfrm>
            <a:off x="668772" y="3406084"/>
            <a:ext cx="2600419" cy="8309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Ins="0" rtlCol="0" anchor="t">
            <a:spAutoFit/>
          </a:bodyPr>
          <a:lstStyle/>
          <a:p>
            <a:pPr lvl="1" indent="0" defTabSz="993775" eaLnBrk="0">
              <a:buClr>
                <a:schemeClr val="tx2"/>
              </a:buClr>
              <a:buSzPct val="100000"/>
              <a:defRPr/>
            </a:pPr>
            <a:r>
              <a:rPr lang="ru-RU" sz="1200" b="1" kern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мый низкий уровень </a:t>
            </a:r>
            <a:r>
              <a:rPr lang="ru-RU" sz="1200" b="1" kern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ыбросов</a:t>
            </a:r>
            <a:r>
              <a:rPr lang="ru-RU" sz="1200" b="1" kern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С0</a:t>
            </a:r>
            <a:r>
              <a:rPr lang="ru-RU" sz="1200" b="1" kern="1200" baseline="-25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  <a:r>
              <a:rPr lang="ru-RU" sz="1200" b="1" kern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b="1" kern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реди мировых диверсифицированных </a:t>
            </a:r>
            <a:r>
              <a:rPr lang="ru-RU" sz="1200" b="1" kern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мпаний </a:t>
            </a:r>
            <a:endParaRPr lang="en-US" sz="1200" b="1" kern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1" name="Прямоугольник 26"/>
          <p:cNvSpPr>
            <a:spLocks/>
          </p:cNvSpPr>
          <p:nvPr/>
        </p:nvSpPr>
        <p:spPr>
          <a:xfrm>
            <a:off x="6110625" y="2500497"/>
            <a:ext cx="2389518" cy="21600"/>
          </a:xfrm>
          <a:prstGeom prst="rect">
            <a:avLst/>
          </a:prstGeom>
          <a:solidFill>
            <a:srgbClr val="0077C8"/>
          </a:solidFill>
          <a:ln w="63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1F1B1A"/>
              </a:solidFill>
              <a:effectLst/>
              <a:uLnTx/>
              <a:uFillTx/>
              <a:latin typeface="Tahoma"/>
              <a:ea typeface="Tahoma"/>
              <a:cs typeface="Tahoma"/>
              <a:sym typeface="Tahoma"/>
            </a:endParaRPr>
          </a:p>
        </p:txBody>
      </p:sp>
      <p:sp>
        <p:nvSpPr>
          <p:cNvPr id="92" name="Прямоугольник 26"/>
          <p:cNvSpPr>
            <a:spLocks/>
          </p:cNvSpPr>
          <p:nvPr/>
        </p:nvSpPr>
        <p:spPr>
          <a:xfrm>
            <a:off x="3385274" y="2500497"/>
            <a:ext cx="2389518" cy="21600"/>
          </a:xfrm>
          <a:prstGeom prst="rect">
            <a:avLst/>
          </a:prstGeom>
          <a:solidFill>
            <a:srgbClr val="0077C8"/>
          </a:solidFill>
          <a:ln w="63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1F1B1A"/>
              </a:solidFill>
              <a:effectLst/>
              <a:uLnTx/>
              <a:uFillTx/>
              <a:latin typeface="Tahoma"/>
              <a:ea typeface="Tahoma"/>
              <a:cs typeface="Tahoma"/>
              <a:sym typeface="Tahoma"/>
            </a:endParaRPr>
          </a:p>
        </p:txBody>
      </p:sp>
      <p:sp>
        <p:nvSpPr>
          <p:cNvPr id="93" name="Прямоугольник 26"/>
          <p:cNvSpPr>
            <a:spLocks/>
          </p:cNvSpPr>
          <p:nvPr/>
        </p:nvSpPr>
        <p:spPr>
          <a:xfrm>
            <a:off x="659923" y="2500497"/>
            <a:ext cx="2389518" cy="21600"/>
          </a:xfrm>
          <a:prstGeom prst="rect">
            <a:avLst/>
          </a:prstGeom>
          <a:solidFill>
            <a:srgbClr val="0077C8"/>
          </a:solidFill>
          <a:ln w="63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1F1B1A"/>
              </a:solidFill>
              <a:effectLst/>
              <a:uLnTx/>
              <a:uFillTx/>
              <a:latin typeface="Tahoma"/>
              <a:ea typeface="Tahoma"/>
              <a:cs typeface="Tahoma"/>
              <a:sym typeface="Tahoma"/>
            </a:endParaRPr>
          </a:p>
        </p:txBody>
      </p:sp>
      <p:sp>
        <p:nvSpPr>
          <p:cNvPr id="155" name="Прямоугольник 26"/>
          <p:cNvSpPr>
            <a:spLocks/>
          </p:cNvSpPr>
          <p:nvPr/>
        </p:nvSpPr>
        <p:spPr>
          <a:xfrm>
            <a:off x="6110625" y="4215955"/>
            <a:ext cx="2389518" cy="21600"/>
          </a:xfrm>
          <a:prstGeom prst="rect">
            <a:avLst/>
          </a:prstGeom>
          <a:solidFill>
            <a:srgbClr val="0077C8"/>
          </a:solidFill>
          <a:ln w="63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1F1B1A"/>
              </a:solidFill>
              <a:effectLst/>
              <a:uLnTx/>
              <a:uFillTx/>
              <a:latin typeface="Tahoma"/>
              <a:ea typeface="Tahoma"/>
              <a:cs typeface="Tahoma"/>
              <a:sym typeface="Tahoma"/>
            </a:endParaRPr>
          </a:p>
        </p:txBody>
      </p:sp>
      <p:sp>
        <p:nvSpPr>
          <p:cNvPr id="156" name="Прямоугольник 26"/>
          <p:cNvSpPr>
            <a:spLocks/>
          </p:cNvSpPr>
          <p:nvPr/>
        </p:nvSpPr>
        <p:spPr>
          <a:xfrm>
            <a:off x="3385274" y="4215955"/>
            <a:ext cx="2389518" cy="21600"/>
          </a:xfrm>
          <a:prstGeom prst="rect">
            <a:avLst/>
          </a:prstGeom>
          <a:solidFill>
            <a:srgbClr val="0077C8"/>
          </a:solidFill>
          <a:ln w="63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1F1B1A"/>
              </a:solidFill>
              <a:effectLst/>
              <a:uLnTx/>
              <a:uFillTx/>
              <a:latin typeface="Tahoma"/>
              <a:ea typeface="Tahoma"/>
              <a:cs typeface="Tahoma"/>
              <a:sym typeface="Tahoma"/>
            </a:endParaRPr>
          </a:p>
        </p:txBody>
      </p:sp>
      <p:sp>
        <p:nvSpPr>
          <p:cNvPr id="157" name="Прямоугольник 26"/>
          <p:cNvSpPr>
            <a:spLocks/>
          </p:cNvSpPr>
          <p:nvPr/>
        </p:nvSpPr>
        <p:spPr>
          <a:xfrm>
            <a:off x="659923" y="4215955"/>
            <a:ext cx="2389518" cy="21600"/>
          </a:xfrm>
          <a:prstGeom prst="rect">
            <a:avLst/>
          </a:prstGeom>
          <a:solidFill>
            <a:srgbClr val="0077C8"/>
          </a:solidFill>
          <a:ln w="63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1F1B1A"/>
              </a:solidFill>
              <a:effectLst/>
              <a:uLnTx/>
              <a:uFillTx/>
              <a:latin typeface="Tahoma"/>
              <a:ea typeface="Tahoma"/>
              <a:cs typeface="Tahoma"/>
              <a:sym typeface="Tahoma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3373204" y="4302051"/>
            <a:ext cx="23537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i="1" dirty="0" smtClean="0"/>
              <a:t>Электроэнергия, произведенная из возобновляемых источников</a:t>
            </a:r>
            <a:endParaRPr lang="en-US" sz="900" i="1" dirty="0"/>
          </a:p>
        </p:txBody>
      </p:sp>
      <p:graphicFrame>
        <p:nvGraphicFramePr>
          <p:cNvPr id="85" name="Диаграмма 84"/>
          <p:cNvGraphicFramePr/>
          <p:nvPr>
            <p:extLst/>
          </p:nvPr>
        </p:nvGraphicFramePr>
        <p:xfrm>
          <a:off x="3394245" y="4696683"/>
          <a:ext cx="2380547" cy="14284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88" name="Диаграмма 87"/>
          <p:cNvGraphicFramePr/>
          <p:nvPr>
            <p:extLst>
              <p:ext uri="{D42A27DB-BD31-4B8C-83A1-F6EECF244321}">
                <p14:modId xmlns:p14="http://schemas.microsoft.com/office/powerpoint/2010/main" val="2669941219"/>
              </p:ext>
            </p:extLst>
          </p:nvPr>
        </p:nvGraphicFramePr>
        <p:xfrm>
          <a:off x="515547" y="4601834"/>
          <a:ext cx="2725352" cy="15347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pic>
        <p:nvPicPr>
          <p:cNvPr id="86" name="Рисунок 42"/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8111" y="5877835"/>
            <a:ext cx="336650" cy="230266"/>
          </a:xfrm>
          <a:prstGeom prst="rect">
            <a:avLst/>
          </a:prstGeom>
        </p:spPr>
      </p:pic>
      <p:grpSp>
        <p:nvGrpSpPr>
          <p:cNvPr id="83" name="Группа 82"/>
          <p:cNvGrpSpPr/>
          <p:nvPr/>
        </p:nvGrpSpPr>
        <p:grpSpPr>
          <a:xfrm>
            <a:off x="1522114" y="1770507"/>
            <a:ext cx="356109" cy="279636"/>
            <a:chOff x="1066800" y="3694114"/>
            <a:chExt cx="495300" cy="388938"/>
          </a:xfrm>
          <a:solidFill>
            <a:schemeClr val="tx1"/>
          </a:solidFill>
        </p:grpSpPr>
        <p:sp>
          <p:nvSpPr>
            <p:cNvPr id="89" name="Freeform 292"/>
            <p:cNvSpPr>
              <a:spLocks/>
            </p:cNvSpPr>
            <p:nvPr/>
          </p:nvSpPr>
          <p:spPr bwMode="auto">
            <a:xfrm>
              <a:off x="1066800" y="3694114"/>
              <a:ext cx="495300" cy="327025"/>
            </a:xfrm>
            <a:custGeom>
              <a:avLst/>
              <a:gdLst>
                <a:gd name="T0" fmla="*/ 204 w 256"/>
                <a:gd name="T1" fmla="*/ 168 h 168"/>
                <a:gd name="T2" fmla="*/ 188 w 256"/>
                <a:gd name="T3" fmla="*/ 168 h 168"/>
                <a:gd name="T4" fmla="*/ 188 w 256"/>
                <a:gd name="T5" fmla="*/ 160 h 168"/>
                <a:gd name="T6" fmla="*/ 204 w 256"/>
                <a:gd name="T7" fmla="*/ 160 h 168"/>
                <a:gd name="T8" fmla="*/ 248 w 256"/>
                <a:gd name="T9" fmla="*/ 116 h 168"/>
                <a:gd name="T10" fmla="*/ 212 w 256"/>
                <a:gd name="T11" fmla="*/ 76 h 168"/>
                <a:gd name="T12" fmla="*/ 208 w 256"/>
                <a:gd name="T13" fmla="*/ 76 h 168"/>
                <a:gd name="T14" fmla="*/ 208 w 256"/>
                <a:gd name="T15" fmla="*/ 72 h 168"/>
                <a:gd name="T16" fmla="*/ 176 w 256"/>
                <a:gd name="T17" fmla="*/ 40 h 168"/>
                <a:gd name="T18" fmla="*/ 170 w 256"/>
                <a:gd name="T19" fmla="*/ 40 h 168"/>
                <a:gd name="T20" fmla="*/ 169 w 256"/>
                <a:gd name="T21" fmla="*/ 38 h 168"/>
                <a:gd name="T22" fmla="*/ 116 w 256"/>
                <a:gd name="T23" fmla="*/ 8 h 168"/>
                <a:gd name="T24" fmla="*/ 56 w 256"/>
                <a:gd name="T25" fmla="*/ 68 h 168"/>
                <a:gd name="T26" fmla="*/ 56 w 256"/>
                <a:gd name="T27" fmla="*/ 72 h 168"/>
                <a:gd name="T28" fmla="*/ 52 w 256"/>
                <a:gd name="T29" fmla="*/ 72 h 168"/>
                <a:gd name="T30" fmla="*/ 8 w 256"/>
                <a:gd name="T31" fmla="*/ 116 h 168"/>
                <a:gd name="T32" fmla="*/ 52 w 256"/>
                <a:gd name="T33" fmla="*/ 160 h 168"/>
                <a:gd name="T34" fmla="*/ 64 w 256"/>
                <a:gd name="T35" fmla="*/ 160 h 168"/>
                <a:gd name="T36" fmla="*/ 64 w 256"/>
                <a:gd name="T37" fmla="*/ 168 h 168"/>
                <a:gd name="T38" fmla="*/ 52 w 256"/>
                <a:gd name="T39" fmla="*/ 168 h 168"/>
                <a:gd name="T40" fmla="*/ 0 w 256"/>
                <a:gd name="T41" fmla="*/ 116 h 168"/>
                <a:gd name="T42" fmla="*/ 48 w 256"/>
                <a:gd name="T43" fmla="*/ 64 h 168"/>
                <a:gd name="T44" fmla="*/ 116 w 256"/>
                <a:gd name="T45" fmla="*/ 0 h 168"/>
                <a:gd name="T46" fmla="*/ 174 w 256"/>
                <a:gd name="T47" fmla="*/ 32 h 168"/>
                <a:gd name="T48" fmla="*/ 176 w 256"/>
                <a:gd name="T49" fmla="*/ 32 h 168"/>
                <a:gd name="T50" fmla="*/ 216 w 256"/>
                <a:gd name="T51" fmla="*/ 68 h 168"/>
                <a:gd name="T52" fmla="*/ 256 w 256"/>
                <a:gd name="T53" fmla="*/ 116 h 168"/>
                <a:gd name="T54" fmla="*/ 204 w 256"/>
                <a:gd name="T55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56" h="168">
                  <a:moveTo>
                    <a:pt x="204" y="168"/>
                  </a:moveTo>
                  <a:cubicBezTo>
                    <a:pt x="188" y="168"/>
                    <a:pt x="188" y="168"/>
                    <a:pt x="188" y="168"/>
                  </a:cubicBezTo>
                  <a:cubicBezTo>
                    <a:pt x="188" y="160"/>
                    <a:pt x="188" y="160"/>
                    <a:pt x="188" y="160"/>
                  </a:cubicBezTo>
                  <a:cubicBezTo>
                    <a:pt x="204" y="160"/>
                    <a:pt x="204" y="160"/>
                    <a:pt x="204" y="160"/>
                  </a:cubicBezTo>
                  <a:cubicBezTo>
                    <a:pt x="228" y="160"/>
                    <a:pt x="248" y="140"/>
                    <a:pt x="248" y="116"/>
                  </a:cubicBezTo>
                  <a:cubicBezTo>
                    <a:pt x="248" y="93"/>
                    <a:pt x="233" y="76"/>
                    <a:pt x="212" y="76"/>
                  </a:cubicBezTo>
                  <a:cubicBezTo>
                    <a:pt x="208" y="76"/>
                    <a:pt x="208" y="76"/>
                    <a:pt x="208" y="76"/>
                  </a:cubicBezTo>
                  <a:cubicBezTo>
                    <a:pt x="208" y="72"/>
                    <a:pt x="208" y="72"/>
                    <a:pt x="208" y="72"/>
                  </a:cubicBezTo>
                  <a:cubicBezTo>
                    <a:pt x="208" y="56"/>
                    <a:pt x="200" y="40"/>
                    <a:pt x="176" y="40"/>
                  </a:cubicBezTo>
                  <a:cubicBezTo>
                    <a:pt x="170" y="40"/>
                    <a:pt x="170" y="40"/>
                    <a:pt x="170" y="40"/>
                  </a:cubicBezTo>
                  <a:cubicBezTo>
                    <a:pt x="169" y="38"/>
                    <a:pt x="169" y="38"/>
                    <a:pt x="169" y="38"/>
                  </a:cubicBezTo>
                  <a:cubicBezTo>
                    <a:pt x="158" y="19"/>
                    <a:pt x="138" y="8"/>
                    <a:pt x="116" y="8"/>
                  </a:cubicBezTo>
                  <a:cubicBezTo>
                    <a:pt x="83" y="8"/>
                    <a:pt x="56" y="35"/>
                    <a:pt x="56" y="68"/>
                  </a:cubicBezTo>
                  <a:cubicBezTo>
                    <a:pt x="56" y="72"/>
                    <a:pt x="56" y="72"/>
                    <a:pt x="56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28" y="72"/>
                    <a:pt x="8" y="91"/>
                    <a:pt x="8" y="116"/>
                  </a:cubicBezTo>
                  <a:cubicBezTo>
                    <a:pt x="8" y="140"/>
                    <a:pt x="28" y="160"/>
                    <a:pt x="52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4" y="168"/>
                    <a:pt x="64" y="168"/>
                    <a:pt x="64" y="168"/>
                  </a:cubicBezTo>
                  <a:cubicBezTo>
                    <a:pt x="52" y="168"/>
                    <a:pt x="52" y="168"/>
                    <a:pt x="52" y="168"/>
                  </a:cubicBezTo>
                  <a:cubicBezTo>
                    <a:pt x="23" y="168"/>
                    <a:pt x="0" y="144"/>
                    <a:pt x="0" y="116"/>
                  </a:cubicBezTo>
                  <a:cubicBezTo>
                    <a:pt x="0" y="88"/>
                    <a:pt x="21" y="66"/>
                    <a:pt x="48" y="64"/>
                  </a:cubicBezTo>
                  <a:cubicBezTo>
                    <a:pt x="50" y="28"/>
                    <a:pt x="80" y="0"/>
                    <a:pt x="116" y="0"/>
                  </a:cubicBezTo>
                  <a:cubicBezTo>
                    <a:pt x="141" y="0"/>
                    <a:pt x="162" y="12"/>
                    <a:pt x="174" y="32"/>
                  </a:cubicBezTo>
                  <a:cubicBezTo>
                    <a:pt x="176" y="32"/>
                    <a:pt x="176" y="32"/>
                    <a:pt x="176" y="32"/>
                  </a:cubicBezTo>
                  <a:cubicBezTo>
                    <a:pt x="199" y="32"/>
                    <a:pt x="214" y="46"/>
                    <a:pt x="216" y="68"/>
                  </a:cubicBezTo>
                  <a:cubicBezTo>
                    <a:pt x="239" y="70"/>
                    <a:pt x="256" y="90"/>
                    <a:pt x="256" y="116"/>
                  </a:cubicBezTo>
                  <a:cubicBezTo>
                    <a:pt x="256" y="144"/>
                    <a:pt x="233" y="168"/>
                    <a:pt x="204" y="1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4" name="Freeform 293"/>
            <p:cNvSpPr>
              <a:spLocks/>
            </p:cNvSpPr>
            <p:nvPr/>
          </p:nvSpPr>
          <p:spPr bwMode="auto">
            <a:xfrm>
              <a:off x="1206500" y="3741739"/>
              <a:ext cx="85725" cy="92075"/>
            </a:xfrm>
            <a:custGeom>
              <a:avLst/>
              <a:gdLst>
                <a:gd name="T0" fmla="*/ 8 w 44"/>
                <a:gd name="T1" fmla="*/ 48 h 48"/>
                <a:gd name="T2" fmla="*/ 0 w 44"/>
                <a:gd name="T3" fmla="*/ 48 h 48"/>
                <a:gd name="T4" fmla="*/ 44 w 44"/>
                <a:gd name="T5" fmla="*/ 0 h 48"/>
                <a:gd name="T6" fmla="*/ 44 w 44"/>
                <a:gd name="T7" fmla="*/ 8 h 48"/>
                <a:gd name="T8" fmla="*/ 8 w 44"/>
                <a:gd name="T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48">
                  <a:moveTo>
                    <a:pt x="8" y="48"/>
                  </a:moveTo>
                  <a:cubicBezTo>
                    <a:pt x="0" y="48"/>
                    <a:pt x="0" y="48"/>
                    <a:pt x="0" y="48"/>
                  </a:cubicBezTo>
                  <a:cubicBezTo>
                    <a:pt x="0" y="22"/>
                    <a:pt x="21" y="0"/>
                    <a:pt x="44" y="0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27" y="8"/>
                    <a:pt x="8" y="25"/>
                    <a:pt x="8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52" name="Freeform 294"/>
            <p:cNvSpPr>
              <a:spLocks noEditPoints="1"/>
            </p:cNvSpPr>
            <p:nvPr/>
          </p:nvSpPr>
          <p:spPr bwMode="auto">
            <a:xfrm>
              <a:off x="1284288" y="3959226"/>
              <a:ext cx="69850" cy="123825"/>
            </a:xfrm>
            <a:custGeom>
              <a:avLst/>
              <a:gdLst>
                <a:gd name="T0" fmla="*/ 20 w 36"/>
                <a:gd name="T1" fmla="*/ 64 h 64"/>
                <a:gd name="T2" fmla="*/ 16 w 36"/>
                <a:gd name="T3" fmla="*/ 64 h 64"/>
                <a:gd name="T4" fmla="*/ 0 w 36"/>
                <a:gd name="T5" fmla="*/ 48 h 64"/>
                <a:gd name="T6" fmla="*/ 0 w 36"/>
                <a:gd name="T7" fmla="*/ 16 h 64"/>
                <a:gd name="T8" fmla="*/ 16 w 36"/>
                <a:gd name="T9" fmla="*/ 0 h 64"/>
                <a:gd name="T10" fmla="*/ 20 w 36"/>
                <a:gd name="T11" fmla="*/ 0 h 64"/>
                <a:gd name="T12" fmla="*/ 36 w 36"/>
                <a:gd name="T13" fmla="*/ 16 h 64"/>
                <a:gd name="T14" fmla="*/ 36 w 36"/>
                <a:gd name="T15" fmla="*/ 48 h 64"/>
                <a:gd name="T16" fmla="*/ 20 w 36"/>
                <a:gd name="T17" fmla="*/ 64 h 64"/>
                <a:gd name="T18" fmla="*/ 16 w 36"/>
                <a:gd name="T19" fmla="*/ 8 h 64"/>
                <a:gd name="T20" fmla="*/ 8 w 36"/>
                <a:gd name="T21" fmla="*/ 16 h 64"/>
                <a:gd name="T22" fmla="*/ 8 w 36"/>
                <a:gd name="T23" fmla="*/ 48 h 64"/>
                <a:gd name="T24" fmla="*/ 16 w 36"/>
                <a:gd name="T25" fmla="*/ 56 h 64"/>
                <a:gd name="T26" fmla="*/ 20 w 36"/>
                <a:gd name="T27" fmla="*/ 56 h 64"/>
                <a:gd name="T28" fmla="*/ 28 w 36"/>
                <a:gd name="T29" fmla="*/ 48 h 64"/>
                <a:gd name="T30" fmla="*/ 28 w 36"/>
                <a:gd name="T31" fmla="*/ 16 h 64"/>
                <a:gd name="T32" fmla="*/ 20 w 36"/>
                <a:gd name="T33" fmla="*/ 8 h 64"/>
                <a:gd name="T34" fmla="*/ 16 w 36"/>
                <a:gd name="T35" fmla="*/ 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6" h="64">
                  <a:moveTo>
                    <a:pt x="20" y="64"/>
                  </a:moveTo>
                  <a:cubicBezTo>
                    <a:pt x="16" y="64"/>
                    <a:pt x="16" y="64"/>
                    <a:pt x="16" y="64"/>
                  </a:cubicBezTo>
                  <a:cubicBezTo>
                    <a:pt x="7" y="64"/>
                    <a:pt x="0" y="57"/>
                    <a:pt x="0" y="4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9" y="0"/>
                    <a:pt x="36" y="7"/>
                    <a:pt x="36" y="16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57"/>
                    <a:pt x="29" y="64"/>
                    <a:pt x="20" y="64"/>
                  </a:cubicBezTo>
                  <a:close/>
                  <a:moveTo>
                    <a:pt x="16" y="8"/>
                  </a:moveTo>
                  <a:cubicBezTo>
                    <a:pt x="12" y="8"/>
                    <a:pt x="8" y="11"/>
                    <a:pt x="8" y="16"/>
                  </a:cubicBezTo>
                  <a:cubicBezTo>
                    <a:pt x="8" y="48"/>
                    <a:pt x="8" y="48"/>
                    <a:pt x="8" y="48"/>
                  </a:cubicBezTo>
                  <a:cubicBezTo>
                    <a:pt x="8" y="52"/>
                    <a:pt x="12" y="56"/>
                    <a:pt x="16" y="56"/>
                  </a:cubicBezTo>
                  <a:cubicBezTo>
                    <a:pt x="20" y="56"/>
                    <a:pt x="20" y="56"/>
                    <a:pt x="20" y="56"/>
                  </a:cubicBezTo>
                  <a:cubicBezTo>
                    <a:pt x="24" y="56"/>
                    <a:pt x="28" y="52"/>
                    <a:pt x="28" y="48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28" y="11"/>
                    <a:pt x="24" y="8"/>
                    <a:pt x="20" y="8"/>
                  </a:cubicBezTo>
                  <a:lnTo>
                    <a:pt x="16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53" name="Freeform 295"/>
            <p:cNvSpPr>
              <a:spLocks/>
            </p:cNvSpPr>
            <p:nvPr/>
          </p:nvSpPr>
          <p:spPr bwMode="auto">
            <a:xfrm>
              <a:off x="1206500" y="3959226"/>
              <a:ext cx="61913" cy="123825"/>
            </a:xfrm>
            <a:custGeom>
              <a:avLst/>
              <a:gdLst>
                <a:gd name="T0" fmla="*/ 32 w 32"/>
                <a:gd name="T1" fmla="*/ 64 h 64"/>
                <a:gd name="T2" fmla="*/ 12 w 32"/>
                <a:gd name="T3" fmla="*/ 64 h 64"/>
                <a:gd name="T4" fmla="*/ 0 w 32"/>
                <a:gd name="T5" fmla="*/ 52 h 64"/>
                <a:gd name="T6" fmla="*/ 0 w 32"/>
                <a:gd name="T7" fmla="*/ 12 h 64"/>
                <a:gd name="T8" fmla="*/ 12 w 32"/>
                <a:gd name="T9" fmla="*/ 0 h 64"/>
                <a:gd name="T10" fmla="*/ 32 w 32"/>
                <a:gd name="T11" fmla="*/ 0 h 64"/>
                <a:gd name="T12" fmla="*/ 32 w 32"/>
                <a:gd name="T13" fmla="*/ 8 h 64"/>
                <a:gd name="T14" fmla="*/ 12 w 32"/>
                <a:gd name="T15" fmla="*/ 8 h 64"/>
                <a:gd name="T16" fmla="*/ 8 w 32"/>
                <a:gd name="T17" fmla="*/ 12 h 64"/>
                <a:gd name="T18" fmla="*/ 8 w 32"/>
                <a:gd name="T19" fmla="*/ 52 h 64"/>
                <a:gd name="T20" fmla="*/ 12 w 32"/>
                <a:gd name="T21" fmla="*/ 56 h 64"/>
                <a:gd name="T22" fmla="*/ 32 w 32"/>
                <a:gd name="T23" fmla="*/ 56 h 64"/>
                <a:gd name="T24" fmla="*/ 32 w 32"/>
                <a:gd name="T25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" h="64">
                  <a:moveTo>
                    <a:pt x="32" y="64"/>
                  </a:moveTo>
                  <a:cubicBezTo>
                    <a:pt x="12" y="64"/>
                    <a:pt x="12" y="64"/>
                    <a:pt x="12" y="64"/>
                  </a:cubicBezTo>
                  <a:cubicBezTo>
                    <a:pt x="5" y="64"/>
                    <a:pt x="0" y="58"/>
                    <a:pt x="0" y="5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0" y="8"/>
                    <a:pt x="8" y="10"/>
                    <a:pt x="8" y="12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8" y="54"/>
                    <a:pt x="10" y="56"/>
                    <a:pt x="12" y="56"/>
                  </a:cubicBezTo>
                  <a:cubicBezTo>
                    <a:pt x="32" y="56"/>
                    <a:pt x="32" y="56"/>
                    <a:pt x="32" y="56"/>
                  </a:cubicBezTo>
                  <a:lnTo>
                    <a:pt x="32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54" name="Freeform 296"/>
            <p:cNvSpPr>
              <a:spLocks/>
            </p:cNvSpPr>
            <p:nvPr/>
          </p:nvSpPr>
          <p:spPr bwMode="auto">
            <a:xfrm>
              <a:off x="1368425" y="4005264"/>
              <a:ext cx="47625" cy="77788"/>
            </a:xfrm>
            <a:custGeom>
              <a:avLst/>
              <a:gdLst>
                <a:gd name="T0" fmla="*/ 24 w 24"/>
                <a:gd name="T1" fmla="*/ 40 h 40"/>
                <a:gd name="T2" fmla="*/ 4 w 24"/>
                <a:gd name="T3" fmla="*/ 40 h 40"/>
                <a:gd name="T4" fmla="*/ 0 w 24"/>
                <a:gd name="T5" fmla="*/ 36 h 40"/>
                <a:gd name="T6" fmla="*/ 0 w 24"/>
                <a:gd name="T7" fmla="*/ 32 h 40"/>
                <a:gd name="T8" fmla="*/ 16 w 24"/>
                <a:gd name="T9" fmla="*/ 16 h 40"/>
                <a:gd name="T10" fmla="*/ 16 w 24"/>
                <a:gd name="T11" fmla="*/ 8 h 40"/>
                <a:gd name="T12" fmla="*/ 0 w 24"/>
                <a:gd name="T13" fmla="*/ 8 h 40"/>
                <a:gd name="T14" fmla="*/ 0 w 24"/>
                <a:gd name="T15" fmla="*/ 0 h 40"/>
                <a:gd name="T16" fmla="*/ 16 w 24"/>
                <a:gd name="T17" fmla="*/ 0 h 40"/>
                <a:gd name="T18" fmla="*/ 24 w 24"/>
                <a:gd name="T19" fmla="*/ 8 h 40"/>
                <a:gd name="T20" fmla="*/ 24 w 24"/>
                <a:gd name="T21" fmla="*/ 20 h 40"/>
                <a:gd name="T22" fmla="*/ 20 w 24"/>
                <a:gd name="T23" fmla="*/ 24 h 40"/>
                <a:gd name="T24" fmla="*/ 16 w 24"/>
                <a:gd name="T25" fmla="*/ 24 h 40"/>
                <a:gd name="T26" fmla="*/ 8 w 24"/>
                <a:gd name="T27" fmla="*/ 32 h 40"/>
                <a:gd name="T28" fmla="*/ 24 w 24"/>
                <a:gd name="T29" fmla="*/ 32 h 40"/>
                <a:gd name="T30" fmla="*/ 24 w 24"/>
                <a:gd name="T31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" h="40">
                  <a:moveTo>
                    <a:pt x="24" y="40"/>
                  </a:moveTo>
                  <a:cubicBezTo>
                    <a:pt x="4" y="40"/>
                    <a:pt x="4" y="40"/>
                    <a:pt x="4" y="40"/>
                  </a:cubicBezTo>
                  <a:cubicBezTo>
                    <a:pt x="2" y="40"/>
                    <a:pt x="0" y="38"/>
                    <a:pt x="0" y="36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23"/>
                    <a:pt x="7" y="16"/>
                    <a:pt x="16" y="16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20" y="0"/>
                    <a:pt x="24" y="3"/>
                    <a:pt x="24" y="8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2"/>
                    <a:pt x="22" y="24"/>
                    <a:pt x="20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2" y="24"/>
                    <a:pt x="8" y="27"/>
                    <a:pt x="8" y="32"/>
                  </a:cubicBezTo>
                  <a:cubicBezTo>
                    <a:pt x="24" y="32"/>
                    <a:pt x="24" y="32"/>
                    <a:pt x="24" y="32"/>
                  </a:cubicBezTo>
                  <a:lnTo>
                    <a:pt x="24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58" name="Rectangle 297"/>
            <p:cNvSpPr>
              <a:spLocks noChangeArrowheads="1"/>
            </p:cNvSpPr>
            <p:nvPr/>
          </p:nvSpPr>
          <p:spPr bwMode="auto">
            <a:xfrm>
              <a:off x="1206500" y="3927476"/>
              <a:ext cx="158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59" name="Rectangle 298"/>
            <p:cNvSpPr>
              <a:spLocks noChangeArrowheads="1"/>
            </p:cNvSpPr>
            <p:nvPr/>
          </p:nvSpPr>
          <p:spPr bwMode="auto">
            <a:xfrm>
              <a:off x="1236663" y="3897314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60" name="Rectangle 299"/>
            <p:cNvSpPr>
              <a:spLocks noChangeArrowheads="1"/>
            </p:cNvSpPr>
            <p:nvPr/>
          </p:nvSpPr>
          <p:spPr bwMode="auto">
            <a:xfrm>
              <a:off x="1284288" y="3911601"/>
              <a:ext cx="1428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62" name="Rectangle 300"/>
            <p:cNvSpPr>
              <a:spLocks noChangeArrowheads="1"/>
            </p:cNvSpPr>
            <p:nvPr/>
          </p:nvSpPr>
          <p:spPr bwMode="auto">
            <a:xfrm>
              <a:off x="1314450" y="3881439"/>
              <a:ext cx="158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63" name="Rectangle 301"/>
            <p:cNvSpPr>
              <a:spLocks noChangeArrowheads="1"/>
            </p:cNvSpPr>
            <p:nvPr/>
          </p:nvSpPr>
          <p:spPr bwMode="auto">
            <a:xfrm>
              <a:off x="1268413" y="3865564"/>
              <a:ext cx="158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65" name="Rectangle 302"/>
            <p:cNvSpPr>
              <a:spLocks noChangeArrowheads="1"/>
            </p:cNvSpPr>
            <p:nvPr/>
          </p:nvSpPr>
          <p:spPr bwMode="auto">
            <a:xfrm>
              <a:off x="1338263" y="3927476"/>
              <a:ext cx="158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66" name="Rectangle 303"/>
            <p:cNvSpPr>
              <a:spLocks noChangeArrowheads="1"/>
            </p:cNvSpPr>
            <p:nvPr/>
          </p:nvSpPr>
          <p:spPr bwMode="auto">
            <a:xfrm>
              <a:off x="1368425" y="3959226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67" name="Rectangle 304"/>
            <p:cNvSpPr>
              <a:spLocks noChangeArrowheads="1"/>
            </p:cNvSpPr>
            <p:nvPr/>
          </p:nvSpPr>
          <p:spPr bwMode="auto">
            <a:xfrm>
              <a:off x="1416050" y="3973514"/>
              <a:ext cx="1428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68" name="Rectangle 305"/>
            <p:cNvSpPr>
              <a:spLocks noChangeArrowheads="1"/>
            </p:cNvSpPr>
            <p:nvPr/>
          </p:nvSpPr>
          <p:spPr bwMode="auto">
            <a:xfrm>
              <a:off x="1400175" y="3927476"/>
              <a:ext cx="158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69" name="Rectangle 306"/>
            <p:cNvSpPr>
              <a:spLocks noChangeArrowheads="1"/>
            </p:cNvSpPr>
            <p:nvPr/>
          </p:nvSpPr>
          <p:spPr bwMode="auto">
            <a:xfrm>
              <a:off x="1368425" y="3897314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70" name="Rectangle 307"/>
            <p:cNvSpPr>
              <a:spLocks noChangeArrowheads="1"/>
            </p:cNvSpPr>
            <p:nvPr/>
          </p:nvSpPr>
          <p:spPr bwMode="auto">
            <a:xfrm>
              <a:off x="1400175" y="3865564"/>
              <a:ext cx="158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71" name="Rectangle 308"/>
            <p:cNvSpPr>
              <a:spLocks noChangeArrowheads="1"/>
            </p:cNvSpPr>
            <p:nvPr/>
          </p:nvSpPr>
          <p:spPr bwMode="auto">
            <a:xfrm>
              <a:off x="1174750" y="3897314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72" name="Rectangle 309"/>
            <p:cNvSpPr>
              <a:spLocks noChangeArrowheads="1"/>
            </p:cNvSpPr>
            <p:nvPr/>
          </p:nvSpPr>
          <p:spPr bwMode="auto">
            <a:xfrm>
              <a:off x="1206500" y="3865564"/>
              <a:ext cx="158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73" name="Rectangle 310"/>
            <p:cNvSpPr>
              <a:spLocks noChangeArrowheads="1"/>
            </p:cNvSpPr>
            <p:nvPr/>
          </p:nvSpPr>
          <p:spPr bwMode="auto">
            <a:xfrm>
              <a:off x="1160463" y="3943351"/>
              <a:ext cx="1428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74" name="Rectangle 311"/>
            <p:cNvSpPr>
              <a:spLocks noChangeArrowheads="1"/>
            </p:cNvSpPr>
            <p:nvPr/>
          </p:nvSpPr>
          <p:spPr bwMode="auto">
            <a:xfrm>
              <a:off x="1477963" y="3911601"/>
              <a:ext cx="158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75" name="Rectangle 312"/>
            <p:cNvSpPr>
              <a:spLocks noChangeArrowheads="1"/>
            </p:cNvSpPr>
            <p:nvPr/>
          </p:nvSpPr>
          <p:spPr bwMode="auto">
            <a:xfrm>
              <a:off x="1128713" y="3911601"/>
              <a:ext cx="158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76" name="Rectangle 313"/>
            <p:cNvSpPr>
              <a:spLocks noChangeArrowheads="1"/>
            </p:cNvSpPr>
            <p:nvPr/>
          </p:nvSpPr>
          <p:spPr bwMode="auto">
            <a:xfrm>
              <a:off x="1446213" y="3943351"/>
              <a:ext cx="158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77" name="Rectangle 314"/>
            <p:cNvSpPr>
              <a:spLocks noChangeArrowheads="1"/>
            </p:cNvSpPr>
            <p:nvPr/>
          </p:nvSpPr>
          <p:spPr bwMode="auto">
            <a:xfrm>
              <a:off x="1430338" y="3897314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78" name="Rectangle 315"/>
            <p:cNvSpPr>
              <a:spLocks noChangeArrowheads="1"/>
            </p:cNvSpPr>
            <p:nvPr/>
          </p:nvSpPr>
          <p:spPr bwMode="auto">
            <a:xfrm>
              <a:off x="1462088" y="3865564"/>
              <a:ext cx="158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69978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347" name="Объект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4668" name="Слайд think-cell" r:id="rId10" imgW="360" imgH="360" progId="TCLayout.ActiveDocument.1">
                  <p:embed/>
                </p:oleObj>
              </mc:Choice>
              <mc:Fallback>
                <p:oleObj name="Слайд think-cell" r:id="rId10" imgW="360" imgH="360" progId="TCLayout.ActiveDocument.1">
                  <p:embed/>
                  <p:pic>
                    <p:nvPicPr>
                      <p:cNvPr id="57347" name="Объект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348" name="Прямоугольник 28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44463" cy="14446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rgbClr val="969696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375D80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en-US" sz="2200" dirty="0">
              <a:solidFill>
                <a:srgbClr val="164463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734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353137" y="6348557"/>
            <a:ext cx="375227" cy="38677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defTabSz="913588" eaLnBrk="0">
              <a:spcBef>
                <a:spcPct val="0"/>
              </a:spcBef>
            </a:pPr>
            <a:r>
              <a:rPr lang="en-US" altLang="zh-TW" sz="1000" dirty="0" smtClean="0">
                <a:solidFill>
                  <a:schemeClr val="tx2"/>
                </a:solidFill>
                <a:latin typeface="Tahoma" panose="020B0604030504040204" pitchFamily="34" charset="0"/>
                <a:ea typeface="Arial Unicode MS" pitchFamily="34" charset="-128"/>
                <a:cs typeface="Arial Unicode MS" pitchFamily="34" charset="-128"/>
              </a:rPr>
              <a:t> </a:t>
            </a:r>
            <a:fld id="{883A03BA-D599-41FB-911C-CB5A2B029F3E}" type="slidenum">
              <a:rPr lang="en-US" altLang="zh-TW" sz="1000" smtClean="0">
                <a:solidFill>
                  <a:schemeClr val="tx2"/>
                </a:solidFill>
                <a:latin typeface="Tahoma" panose="020B0604030504040204" pitchFamily="34" charset="0"/>
                <a:ea typeface="Arial Unicode MS" pitchFamily="34" charset="-128"/>
                <a:cs typeface="Arial Unicode MS" pitchFamily="34" charset="-128"/>
              </a:rPr>
              <a:pPr defTabSz="913588" eaLnBrk="0">
                <a:spcBef>
                  <a:spcPct val="0"/>
                </a:spcBef>
              </a:pPr>
              <a:t>5</a:t>
            </a:fld>
            <a:endParaRPr lang="en-US" altLang="zh-TW" sz="1000" dirty="0">
              <a:solidFill>
                <a:schemeClr val="tx2"/>
              </a:solidFill>
              <a:latin typeface="Tahoma" panose="020B0604030504040204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7350" name="Title 2"/>
          <p:cNvSpPr>
            <a:spLocks noGrp="1"/>
          </p:cNvSpPr>
          <p:nvPr>
            <p:ph type="title"/>
          </p:nvPr>
        </p:nvSpPr>
        <p:spPr bwMode="auto">
          <a:xfrm>
            <a:off x="275275" y="131303"/>
            <a:ext cx="8452800" cy="591096"/>
          </a:xfr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Autofit/>
          </a:bodyPr>
          <a:lstStyle/>
          <a:p>
            <a:r>
              <a:rPr lang="ru-RU" dirty="0"/>
              <a:t>Повышение </a:t>
            </a:r>
            <a:r>
              <a:rPr lang="en-US" dirty="0"/>
              <a:t>ESG</a:t>
            </a:r>
            <a:r>
              <a:rPr lang="ru-RU" dirty="0"/>
              <a:t> рейтингов Норникеля от специализированных рейтинговых агентств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42900" y="6302031"/>
            <a:ext cx="6461125" cy="338554"/>
          </a:xfrm>
          <a:prstGeom prst="rect">
            <a:avLst/>
          </a:prstGeom>
          <a:noFill/>
        </p:spPr>
        <p:txBody>
          <a:bodyPr lIns="0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>
              <a:defRPr sz="800" i="1" kern="0">
                <a:solidFill>
                  <a:schemeClr val="tx2"/>
                </a:solidFill>
                <a:ea typeface="Tahoma" panose="020B0604030504040204" pitchFamily="34" charset="0"/>
              </a:defRPr>
            </a:lvl1pPr>
          </a:lstStyle>
          <a:p>
            <a:r>
              <a:rPr lang="ru-RU" altLang="en-US" dirty="0" smtClean="0">
                <a:ea typeface="Tahoma"/>
              </a:rPr>
              <a:t>Источник</a:t>
            </a:r>
            <a:r>
              <a:rPr lang="en-US" altLang="en-US" dirty="0" smtClean="0">
                <a:ea typeface="Tahoma"/>
              </a:rPr>
              <a:t>: </a:t>
            </a:r>
            <a:r>
              <a:rPr lang="ru-RU" altLang="en-US" dirty="0" smtClean="0">
                <a:ea typeface="Tahoma"/>
              </a:rPr>
              <a:t>данные компании, отчеты </a:t>
            </a:r>
            <a:r>
              <a:rPr lang="en-US" altLang="en-US" dirty="0" smtClean="0">
                <a:ea typeface="Tahoma"/>
              </a:rPr>
              <a:t>ESG </a:t>
            </a:r>
            <a:r>
              <a:rPr lang="ru-RU" altLang="en-US" dirty="0" err="1" smtClean="0">
                <a:ea typeface="Tahoma"/>
              </a:rPr>
              <a:t>агенств</a:t>
            </a:r>
            <a:endParaRPr lang="en-US" altLang="en-US" dirty="0">
              <a:ea typeface="Tahoma"/>
            </a:endParaRPr>
          </a:p>
          <a:p>
            <a:r>
              <a:rPr lang="ru-RU" altLang="en-US" dirty="0" smtClean="0">
                <a:ea typeface="Tahoma"/>
              </a:rPr>
              <a:t>Примечание</a:t>
            </a:r>
            <a:r>
              <a:rPr lang="en-US" altLang="en-US" dirty="0" smtClean="0">
                <a:ea typeface="Tahoma"/>
              </a:rPr>
              <a:t>: </a:t>
            </a:r>
            <a:r>
              <a:rPr lang="en-US" altLang="en-US" dirty="0">
                <a:ea typeface="Tahoma"/>
              </a:rPr>
              <a:t>1. </a:t>
            </a:r>
            <a:r>
              <a:rPr lang="ru-RU" altLang="en-US" dirty="0" smtClean="0">
                <a:ea typeface="Tahoma"/>
              </a:rPr>
              <a:t>1 - низкий риск, 10 – высокий риск</a:t>
            </a:r>
            <a:r>
              <a:rPr lang="en-US" altLang="en-US" dirty="0" smtClean="0">
                <a:ea typeface="Tahoma"/>
              </a:rPr>
              <a:t>, 2. </a:t>
            </a:r>
            <a:r>
              <a:rPr lang="ru-RU" altLang="en-US" dirty="0" smtClean="0">
                <a:ea typeface="Tahoma"/>
              </a:rPr>
              <a:t>5 </a:t>
            </a:r>
            <a:r>
              <a:rPr lang="ru-RU" altLang="en-US" dirty="0">
                <a:ea typeface="Tahoma"/>
              </a:rPr>
              <a:t>– наивысшая </a:t>
            </a:r>
            <a:r>
              <a:rPr lang="ru-RU" altLang="en-US" dirty="0" smtClean="0">
                <a:ea typeface="Tahoma"/>
              </a:rPr>
              <a:t>оценка </a:t>
            </a:r>
          </a:p>
        </p:txBody>
      </p:sp>
      <p:graphicFrame>
        <p:nvGraphicFramePr>
          <p:cNvPr id="28" name="Диаграмма 27"/>
          <p:cNvGraphicFramePr/>
          <p:nvPr>
            <p:extLst>
              <p:ext uri="{D42A27DB-BD31-4B8C-83A1-F6EECF244321}">
                <p14:modId xmlns:p14="http://schemas.microsoft.com/office/powerpoint/2010/main" val="1437289792"/>
              </p:ext>
            </p:extLst>
          </p:nvPr>
        </p:nvGraphicFramePr>
        <p:xfrm>
          <a:off x="355438" y="1873070"/>
          <a:ext cx="3795712" cy="16889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29" name="LAYOUT HEADER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55438" y="1060541"/>
            <a:ext cx="374438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B203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969696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defTabSz="1006475" eaLnBrk="1" hangingPunct="1">
              <a:spcBef>
                <a:spcPct val="60000"/>
              </a:spcBef>
              <a:buFont typeface="Arial" pitchFamily="34" charset="0"/>
              <a:defRPr sz="1400" b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742950" indent="-285750" defTabSz="1006475" eaLnBrk="0">
              <a:defRPr sz="1300" b="1">
                <a:solidFill>
                  <a:srgbClr val="164463"/>
                </a:solidFill>
                <a:latin typeface="Arial" pitchFamily="34" charset="0"/>
                <a:ea typeface="Batang" pitchFamily="18" charset="-127"/>
              </a:defRPr>
            </a:lvl2pPr>
            <a:lvl3pPr marL="1143000" indent="-228600" defTabSz="1006475" eaLnBrk="0">
              <a:defRPr sz="1300" b="1">
                <a:solidFill>
                  <a:srgbClr val="164463"/>
                </a:solidFill>
                <a:latin typeface="Arial" pitchFamily="34" charset="0"/>
                <a:ea typeface="Batang" pitchFamily="18" charset="-127"/>
              </a:defRPr>
            </a:lvl3pPr>
            <a:lvl4pPr marL="1600200" indent="-228600" defTabSz="1006475" eaLnBrk="0">
              <a:defRPr sz="1300" b="1">
                <a:solidFill>
                  <a:srgbClr val="164463"/>
                </a:solidFill>
                <a:latin typeface="Arial" pitchFamily="34" charset="0"/>
                <a:ea typeface="Batang" pitchFamily="18" charset="-127"/>
              </a:defRPr>
            </a:lvl4pPr>
            <a:lvl5pPr marL="2057400" indent="-228600" defTabSz="1006475" eaLnBrk="0">
              <a:defRPr sz="1300" b="1">
                <a:solidFill>
                  <a:srgbClr val="164463"/>
                </a:solidFill>
                <a:latin typeface="Arial" pitchFamily="34" charset="0"/>
                <a:ea typeface="Batang" pitchFamily="18" charset="-127"/>
              </a:defRPr>
            </a:lvl5pPr>
            <a:lvl6pPr marL="2514600" indent="-228600" defTabSz="1006475" eaLnBrk="0" fontAlgn="base">
              <a:spcBef>
                <a:spcPct val="0"/>
              </a:spcBef>
              <a:spcAft>
                <a:spcPct val="0"/>
              </a:spcAft>
              <a:defRPr sz="1300" b="1">
                <a:solidFill>
                  <a:srgbClr val="164463"/>
                </a:solidFill>
                <a:latin typeface="Arial" pitchFamily="34" charset="0"/>
                <a:ea typeface="Batang" pitchFamily="18" charset="-127"/>
              </a:defRPr>
            </a:lvl6pPr>
            <a:lvl7pPr marL="2971800" indent="-228600" defTabSz="1006475" eaLnBrk="0" fontAlgn="base">
              <a:spcBef>
                <a:spcPct val="0"/>
              </a:spcBef>
              <a:spcAft>
                <a:spcPct val="0"/>
              </a:spcAft>
              <a:defRPr sz="1300" b="1">
                <a:solidFill>
                  <a:srgbClr val="164463"/>
                </a:solidFill>
                <a:latin typeface="Arial" pitchFamily="34" charset="0"/>
                <a:ea typeface="Batang" pitchFamily="18" charset="-127"/>
              </a:defRPr>
            </a:lvl7pPr>
            <a:lvl8pPr marL="3429000" indent="-228600" defTabSz="1006475" eaLnBrk="0" fontAlgn="base">
              <a:spcBef>
                <a:spcPct val="0"/>
              </a:spcBef>
              <a:spcAft>
                <a:spcPct val="0"/>
              </a:spcAft>
              <a:defRPr sz="1300" b="1">
                <a:solidFill>
                  <a:srgbClr val="164463"/>
                </a:solidFill>
                <a:latin typeface="Arial" pitchFamily="34" charset="0"/>
                <a:ea typeface="Batang" pitchFamily="18" charset="-127"/>
              </a:defRPr>
            </a:lvl8pPr>
            <a:lvl9pPr marL="3886200" indent="-228600" defTabSz="1006475" eaLnBrk="0" fontAlgn="base">
              <a:spcBef>
                <a:spcPct val="0"/>
              </a:spcBef>
              <a:spcAft>
                <a:spcPct val="0"/>
              </a:spcAft>
              <a:defRPr sz="1300" b="1">
                <a:solidFill>
                  <a:srgbClr val="164463"/>
                </a:solidFill>
                <a:latin typeface="Arial" pitchFamily="34" charset="0"/>
                <a:ea typeface="Batang" pitchFamily="18" charset="-127"/>
              </a:defRPr>
            </a:lvl9pPr>
          </a:lstStyle>
          <a:p>
            <a:r>
              <a:rPr lang="en-US" sz="1200" kern="1200" dirty="0" smtClean="0">
                <a:solidFill>
                  <a:schemeClr val="accent1">
                    <a:lumMod val="75000"/>
                  </a:schemeClr>
                </a:solidFill>
              </a:rPr>
              <a:t>MSCI:</a:t>
            </a:r>
            <a:r>
              <a:rPr lang="ru-RU" sz="1200" kern="1200" dirty="0" smtClean="0">
                <a:solidFill>
                  <a:schemeClr val="accent1">
                    <a:lumMod val="75000"/>
                  </a:schemeClr>
                </a:solidFill>
              </a:rPr>
              <a:t>Повышение рейтинга до уровня «Средняя оценка» с уровня «Хуже рынка»</a:t>
            </a:r>
            <a:endParaRPr lang="en-GB" sz="1200" kern="12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31" name="LAYOUT HEADER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762165" y="1099055"/>
            <a:ext cx="3822463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B203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969696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defTabSz="1006475" eaLnBrk="1" hangingPunct="1">
              <a:spcBef>
                <a:spcPct val="60000"/>
              </a:spcBef>
              <a:buFont typeface="Arial" pitchFamily="34" charset="0"/>
              <a:defRPr sz="1400" b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742950" indent="-285750" defTabSz="1006475" eaLnBrk="0">
              <a:defRPr sz="1300" b="1">
                <a:solidFill>
                  <a:srgbClr val="164463"/>
                </a:solidFill>
                <a:latin typeface="Arial" pitchFamily="34" charset="0"/>
                <a:ea typeface="Batang" pitchFamily="18" charset="-127"/>
              </a:defRPr>
            </a:lvl2pPr>
            <a:lvl3pPr marL="1143000" indent="-228600" defTabSz="1006475" eaLnBrk="0">
              <a:defRPr sz="1300" b="1">
                <a:solidFill>
                  <a:srgbClr val="164463"/>
                </a:solidFill>
                <a:latin typeface="Arial" pitchFamily="34" charset="0"/>
                <a:ea typeface="Batang" pitchFamily="18" charset="-127"/>
              </a:defRPr>
            </a:lvl3pPr>
            <a:lvl4pPr marL="1600200" indent="-228600" defTabSz="1006475" eaLnBrk="0">
              <a:defRPr sz="1300" b="1">
                <a:solidFill>
                  <a:srgbClr val="164463"/>
                </a:solidFill>
                <a:latin typeface="Arial" pitchFamily="34" charset="0"/>
                <a:ea typeface="Batang" pitchFamily="18" charset="-127"/>
              </a:defRPr>
            </a:lvl4pPr>
            <a:lvl5pPr marL="2057400" indent="-228600" defTabSz="1006475" eaLnBrk="0">
              <a:defRPr sz="1300" b="1">
                <a:solidFill>
                  <a:srgbClr val="164463"/>
                </a:solidFill>
                <a:latin typeface="Arial" pitchFamily="34" charset="0"/>
                <a:ea typeface="Batang" pitchFamily="18" charset="-127"/>
              </a:defRPr>
            </a:lvl5pPr>
            <a:lvl6pPr marL="2514600" indent="-228600" defTabSz="1006475" eaLnBrk="0" fontAlgn="base">
              <a:spcBef>
                <a:spcPct val="0"/>
              </a:spcBef>
              <a:spcAft>
                <a:spcPct val="0"/>
              </a:spcAft>
              <a:defRPr sz="1300" b="1">
                <a:solidFill>
                  <a:srgbClr val="164463"/>
                </a:solidFill>
                <a:latin typeface="Arial" pitchFamily="34" charset="0"/>
                <a:ea typeface="Batang" pitchFamily="18" charset="-127"/>
              </a:defRPr>
            </a:lvl6pPr>
            <a:lvl7pPr marL="2971800" indent="-228600" defTabSz="1006475" eaLnBrk="0" fontAlgn="base">
              <a:spcBef>
                <a:spcPct val="0"/>
              </a:spcBef>
              <a:spcAft>
                <a:spcPct val="0"/>
              </a:spcAft>
              <a:defRPr sz="1300" b="1">
                <a:solidFill>
                  <a:srgbClr val="164463"/>
                </a:solidFill>
                <a:latin typeface="Arial" pitchFamily="34" charset="0"/>
                <a:ea typeface="Batang" pitchFamily="18" charset="-127"/>
              </a:defRPr>
            </a:lvl7pPr>
            <a:lvl8pPr marL="3429000" indent="-228600" defTabSz="1006475" eaLnBrk="0" fontAlgn="base">
              <a:spcBef>
                <a:spcPct val="0"/>
              </a:spcBef>
              <a:spcAft>
                <a:spcPct val="0"/>
              </a:spcAft>
              <a:defRPr sz="1300" b="1">
                <a:solidFill>
                  <a:srgbClr val="164463"/>
                </a:solidFill>
                <a:latin typeface="Arial" pitchFamily="34" charset="0"/>
                <a:ea typeface="Batang" pitchFamily="18" charset="-127"/>
              </a:defRPr>
            </a:lvl8pPr>
            <a:lvl9pPr marL="3886200" indent="-228600" defTabSz="1006475" eaLnBrk="0" fontAlgn="base">
              <a:spcBef>
                <a:spcPct val="0"/>
              </a:spcBef>
              <a:spcAft>
                <a:spcPct val="0"/>
              </a:spcAft>
              <a:defRPr sz="1300" b="1">
                <a:solidFill>
                  <a:srgbClr val="164463"/>
                </a:solidFill>
                <a:latin typeface="Arial" pitchFamily="34" charset="0"/>
                <a:ea typeface="Batang" pitchFamily="18" charset="-127"/>
              </a:defRPr>
            </a:lvl9pPr>
          </a:lstStyle>
          <a:p>
            <a:r>
              <a:rPr lang="en-US" sz="1200" kern="1200" dirty="0" smtClean="0">
                <a:solidFill>
                  <a:schemeClr val="accent1">
                    <a:lumMod val="75000"/>
                  </a:schemeClr>
                </a:solidFill>
              </a:rPr>
              <a:t>MSCI: </a:t>
            </a:r>
            <a:r>
              <a:rPr lang="ru-RU" sz="1200" kern="1200" dirty="0" smtClean="0">
                <a:solidFill>
                  <a:schemeClr val="accent1">
                    <a:lumMod val="75000"/>
                  </a:schemeClr>
                </a:solidFill>
              </a:rPr>
              <a:t>Повышение рейтинга с «ССС» до «</a:t>
            </a:r>
            <a:r>
              <a:rPr lang="en-US" sz="1200" kern="1200" dirty="0" smtClean="0">
                <a:solidFill>
                  <a:schemeClr val="accent1">
                    <a:lumMod val="75000"/>
                  </a:schemeClr>
                </a:solidFill>
              </a:rPr>
              <a:t>B</a:t>
            </a:r>
            <a:r>
              <a:rPr lang="ru-RU" sz="1200" kern="1200" dirty="0" smtClean="0">
                <a:solidFill>
                  <a:schemeClr val="accent1">
                    <a:lumMod val="75000"/>
                  </a:schemeClr>
                </a:solidFill>
              </a:rPr>
              <a:t>»</a:t>
            </a:r>
            <a:endParaRPr lang="en-GB" sz="1200" kern="1200" dirty="0">
              <a:solidFill>
                <a:schemeClr val="accent1">
                  <a:lumMod val="75000"/>
                </a:schemeClr>
              </a:solidFill>
            </a:endParaRPr>
          </a:p>
        </p:txBody>
      </p:sp>
      <p:graphicFrame>
        <p:nvGraphicFramePr>
          <p:cNvPr id="33" name="Диаграмма 32"/>
          <p:cNvGraphicFramePr/>
          <p:nvPr>
            <p:extLst>
              <p:ext uri="{D42A27DB-BD31-4B8C-83A1-F6EECF244321}">
                <p14:modId xmlns:p14="http://schemas.microsoft.com/office/powerpoint/2010/main" val="2359273367"/>
              </p:ext>
            </p:extLst>
          </p:nvPr>
        </p:nvGraphicFramePr>
        <p:xfrm>
          <a:off x="4668228" y="1660377"/>
          <a:ext cx="3900237" cy="18610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104642" y="1696390"/>
            <a:ext cx="95023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srgbClr val="C00000"/>
                </a:solidFill>
              </a:rPr>
              <a:t>#13/45</a:t>
            </a:r>
            <a:endParaRPr lang="en-US" sz="1200" b="1" dirty="0">
              <a:solidFill>
                <a:srgbClr val="C00000"/>
              </a:solidFill>
            </a:endParaRPr>
          </a:p>
        </p:txBody>
      </p:sp>
      <p:sp>
        <p:nvSpPr>
          <p:cNvPr id="35" name="TextBox 7"/>
          <p:cNvSpPr txBox="1"/>
          <p:nvPr/>
        </p:nvSpPr>
        <p:spPr>
          <a:xfrm>
            <a:off x="402224" y="2711967"/>
            <a:ext cx="173913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1" i="1" dirty="0" smtClean="0">
                <a:solidFill>
                  <a:schemeClr val="bg1">
                    <a:lumMod val="65000"/>
                  </a:schemeClr>
                </a:solidFill>
              </a:rPr>
              <a:t>Under</a:t>
            </a:r>
            <a:br>
              <a:rPr lang="en-US" sz="1000" b="1" i="1" dirty="0" smtClean="0">
                <a:solidFill>
                  <a:schemeClr val="bg1">
                    <a:lumMod val="65000"/>
                  </a:schemeClr>
                </a:solidFill>
              </a:rPr>
            </a:br>
            <a:r>
              <a:rPr lang="en-US" sz="1000" b="1" i="1" dirty="0" smtClean="0">
                <a:solidFill>
                  <a:schemeClr val="bg1">
                    <a:lumMod val="65000"/>
                  </a:schemeClr>
                </a:solidFill>
              </a:rPr>
              <a:t>performer</a:t>
            </a:r>
            <a:endParaRPr lang="en-US" sz="1000" b="1" i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515452" y="1957409"/>
            <a:ext cx="95023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schemeClr val="bg1">
                    <a:lumMod val="65000"/>
                  </a:schemeClr>
                </a:solidFill>
              </a:rPr>
              <a:t>#61/70</a:t>
            </a:r>
            <a:endParaRPr lang="en-US" sz="1200" b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75275" y="1530812"/>
            <a:ext cx="25812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i="1" dirty="0" smtClean="0"/>
              <a:t>Рейтинг индустрии </a:t>
            </a:r>
            <a:endParaRPr lang="en-US" sz="1000" i="1" dirty="0"/>
          </a:p>
        </p:txBody>
      </p:sp>
      <p:graphicFrame>
        <p:nvGraphicFramePr>
          <p:cNvPr id="37" name="Диаграмма 36"/>
          <p:cNvGraphicFramePr/>
          <p:nvPr>
            <p:extLst>
              <p:ext uri="{D42A27DB-BD31-4B8C-83A1-F6EECF244321}">
                <p14:modId xmlns:p14="http://schemas.microsoft.com/office/powerpoint/2010/main" val="2534698792"/>
              </p:ext>
            </p:extLst>
          </p:nvPr>
        </p:nvGraphicFramePr>
        <p:xfrm>
          <a:off x="257652" y="4338312"/>
          <a:ext cx="4001081" cy="19016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39" name="LAYOUT HEADER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15394" y="3752442"/>
            <a:ext cx="4055006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B203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969696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defTabSz="1006475" eaLnBrk="1" hangingPunct="1">
              <a:spcBef>
                <a:spcPct val="60000"/>
              </a:spcBef>
              <a:buFont typeface="Arial" pitchFamily="34" charset="0"/>
              <a:defRPr sz="1400" b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742950" indent="-285750" defTabSz="1006475" eaLnBrk="0">
              <a:defRPr sz="1300" b="1">
                <a:solidFill>
                  <a:srgbClr val="164463"/>
                </a:solidFill>
                <a:latin typeface="Arial" pitchFamily="34" charset="0"/>
                <a:ea typeface="Batang" pitchFamily="18" charset="-127"/>
              </a:defRPr>
            </a:lvl2pPr>
            <a:lvl3pPr marL="1143000" indent="-228600" defTabSz="1006475" eaLnBrk="0">
              <a:defRPr sz="1300" b="1">
                <a:solidFill>
                  <a:srgbClr val="164463"/>
                </a:solidFill>
                <a:latin typeface="Arial" pitchFamily="34" charset="0"/>
                <a:ea typeface="Batang" pitchFamily="18" charset="-127"/>
              </a:defRPr>
            </a:lvl3pPr>
            <a:lvl4pPr marL="1600200" indent="-228600" defTabSz="1006475" eaLnBrk="0">
              <a:defRPr sz="1300" b="1">
                <a:solidFill>
                  <a:srgbClr val="164463"/>
                </a:solidFill>
                <a:latin typeface="Arial" pitchFamily="34" charset="0"/>
                <a:ea typeface="Batang" pitchFamily="18" charset="-127"/>
              </a:defRPr>
            </a:lvl4pPr>
            <a:lvl5pPr marL="2057400" indent="-228600" defTabSz="1006475" eaLnBrk="0">
              <a:defRPr sz="1300" b="1">
                <a:solidFill>
                  <a:srgbClr val="164463"/>
                </a:solidFill>
                <a:latin typeface="Arial" pitchFamily="34" charset="0"/>
                <a:ea typeface="Batang" pitchFamily="18" charset="-127"/>
              </a:defRPr>
            </a:lvl5pPr>
            <a:lvl6pPr marL="2514600" indent="-228600" defTabSz="1006475" eaLnBrk="0" fontAlgn="base">
              <a:spcBef>
                <a:spcPct val="0"/>
              </a:spcBef>
              <a:spcAft>
                <a:spcPct val="0"/>
              </a:spcAft>
              <a:defRPr sz="1300" b="1">
                <a:solidFill>
                  <a:srgbClr val="164463"/>
                </a:solidFill>
                <a:latin typeface="Arial" pitchFamily="34" charset="0"/>
                <a:ea typeface="Batang" pitchFamily="18" charset="-127"/>
              </a:defRPr>
            </a:lvl6pPr>
            <a:lvl7pPr marL="2971800" indent="-228600" defTabSz="1006475" eaLnBrk="0" fontAlgn="base">
              <a:spcBef>
                <a:spcPct val="0"/>
              </a:spcBef>
              <a:spcAft>
                <a:spcPct val="0"/>
              </a:spcAft>
              <a:defRPr sz="1300" b="1">
                <a:solidFill>
                  <a:srgbClr val="164463"/>
                </a:solidFill>
                <a:latin typeface="Arial" pitchFamily="34" charset="0"/>
                <a:ea typeface="Batang" pitchFamily="18" charset="-127"/>
              </a:defRPr>
            </a:lvl7pPr>
            <a:lvl8pPr marL="3429000" indent="-228600" defTabSz="1006475" eaLnBrk="0" fontAlgn="base">
              <a:spcBef>
                <a:spcPct val="0"/>
              </a:spcBef>
              <a:spcAft>
                <a:spcPct val="0"/>
              </a:spcAft>
              <a:defRPr sz="1300" b="1">
                <a:solidFill>
                  <a:srgbClr val="164463"/>
                </a:solidFill>
                <a:latin typeface="Arial" pitchFamily="34" charset="0"/>
                <a:ea typeface="Batang" pitchFamily="18" charset="-127"/>
              </a:defRPr>
            </a:lvl8pPr>
            <a:lvl9pPr marL="3886200" indent="-228600" defTabSz="1006475" eaLnBrk="0" fontAlgn="base">
              <a:spcBef>
                <a:spcPct val="0"/>
              </a:spcBef>
              <a:spcAft>
                <a:spcPct val="0"/>
              </a:spcAft>
              <a:defRPr sz="1300" b="1">
                <a:solidFill>
                  <a:srgbClr val="164463"/>
                </a:solidFill>
                <a:latin typeface="Arial" pitchFamily="34" charset="0"/>
                <a:ea typeface="Batang" pitchFamily="18" charset="-127"/>
              </a:defRPr>
            </a:lvl9pPr>
          </a:lstStyle>
          <a:p>
            <a:r>
              <a:rPr lang="en-US" sz="1200" kern="1200" dirty="0" smtClean="0">
                <a:solidFill>
                  <a:schemeClr val="accent1">
                    <a:lumMod val="75000"/>
                  </a:schemeClr>
                </a:solidFill>
              </a:rPr>
              <a:t>ISS</a:t>
            </a:r>
            <a:r>
              <a:rPr lang="en-US" sz="1200" kern="1200" baseline="30000" dirty="0" smtClean="0">
                <a:solidFill>
                  <a:schemeClr val="accent1">
                    <a:lumMod val="75000"/>
                  </a:schemeClr>
                </a:solidFill>
              </a:rPr>
              <a:t>1</a:t>
            </a:r>
            <a:r>
              <a:rPr lang="en-US" sz="1200" kern="1200" dirty="0" smtClean="0">
                <a:solidFill>
                  <a:schemeClr val="accent1">
                    <a:lumMod val="75000"/>
                  </a:schemeClr>
                </a:solidFill>
              </a:rPr>
              <a:t>:</a:t>
            </a:r>
            <a:r>
              <a:rPr lang="ru-RU" sz="1200" kern="1200" dirty="0" smtClean="0">
                <a:solidFill>
                  <a:schemeClr val="accent1">
                    <a:lumMod val="75000"/>
                  </a:schemeClr>
                </a:solidFill>
              </a:rPr>
              <a:t> Улучшение оценки по всем основным направлениям (корпоративное управление, экология и социальная политика)</a:t>
            </a:r>
            <a:r>
              <a:rPr lang="en-US" sz="1200" kern="1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endParaRPr lang="en-GB" sz="1200" kern="1200" dirty="0">
              <a:solidFill>
                <a:schemeClr val="accent1">
                  <a:lumMod val="75000"/>
                </a:schemeClr>
              </a:solidFill>
            </a:endParaRPr>
          </a:p>
        </p:txBody>
      </p:sp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:p14="http://schemas.microsoft.com/office/powerpoint/2010/main" val="1830156590"/>
              </p:ext>
            </p:extLst>
          </p:nvPr>
        </p:nvGraphicFramePr>
        <p:xfrm>
          <a:off x="4618719" y="4127994"/>
          <a:ext cx="4109356" cy="22240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47" name="LAYOUT HEADER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4762165" y="3713408"/>
            <a:ext cx="405004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B203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969696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defTabSz="1006475" eaLnBrk="1" hangingPunct="1">
              <a:spcBef>
                <a:spcPct val="60000"/>
              </a:spcBef>
              <a:buFont typeface="Arial" pitchFamily="34" charset="0"/>
              <a:defRPr sz="1400" b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742950" indent="-285750" defTabSz="1006475" eaLnBrk="0">
              <a:defRPr sz="1300" b="1">
                <a:solidFill>
                  <a:srgbClr val="164463"/>
                </a:solidFill>
                <a:latin typeface="Arial" pitchFamily="34" charset="0"/>
                <a:ea typeface="Batang" pitchFamily="18" charset="-127"/>
              </a:defRPr>
            </a:lvl2pPr>
            <a:lvl3pPr marL="1143000" indent="-228600" defTabSz="1006475" eaLnBrk="0">
              <a:defRPr sz="1300" b="1">
                <a:solidFill>
                  <a:srgbClr val="164463"/>
                </a:solidFill>
                <a:latin typeface="Arial" pitchFamily="34" charset="0"/>
                <a:ea typeface="Batang" pitchFamily="18" charset="-127"/>
              </a:defRPr>
            </a:lvl3pPr>
            <a:lvl4pPr marL="1600200" indent="-228600" defTabSz="1006475" eaLnBrk="0">
              <a:defRPr sz="1300" b="1">
                <a:solidFill>
                  <a:srgbClr val="164463"/>
                </a:solidFill>
                <a:latin typeface="Arial" pitchFamily="34" charset="0"/>
                <a:ea typeface="Batang" pitchFamily="18" charset="-127"/>
              </a:defRPr>
            </a:lvl4pPr>
            <a:lvl5pPr marL="2057400" indent="-228600" defTabSz="1006475" eaLnBrk="0">
              <a:defRPr sz="1300" b="1">
                <a:solidFill>
                  <a:srgbClr val="164463"/>
                </a:solidFill>
                <a:latin typeface="Arial" pitchFamily="34" charset="0"/>
                <a:ea typeface="Batang" pitchFamily="18" charset="-127"/>
              </a:defRPr>
            </a:lvl5pPr>
            <a:lvl6pPr marL="2514600" indent="-228600" defTabSz="1006475" eaLnBrk="0" fontAlgn="base">
              <a:spcBef>
                <a:spcPct val="0"/>
              </a:spcBef>
              <a:spcAft>
                <a:spcPct val="0"/>
              </a:spcAft>
              <a:defRPr sz="1300" b="1">
                <a:solidFill>
                  <a:srgbClr val="164463"/>
                </a:solidFill>
                <a:latin typeface="Arial" pitchFamily="34" charset="0"/>
                <a:ea typeface="Batang" pitchFamily="18" charset="-127"/>
              </a:defRPr>
            </a:lvl6pPr>
            <a:lvl7pPr marL="2971800" indent="-228600" defTabSz="1006475" eaLnBrk="0" fontAlgn="base">
              <a:spcBef>
                <a:spcPct val="0"/>
              </a:spcBef>
              <a:spcAft>
                <a:spcPct val="0"/>
              </a:spcAft>
              <a:defRPr sz="1300" b="1">
                <a:solidFill>
                  <a:srgbClr val="164463"/>
                </a:solidFill>
                <a:latin typeface="Arial" pitchFamily="34" charset="0"/>
                <a:ea typeface="Batang" pitchFamily="18" charset="-127"/>
              </a:defRPr>
            </a:lvl7pPr>
            <a:lvl8pPr marL="3429000" indent="-228600" defTabSz="1006475" eaLnBrk="0" fontAlgn="base">
              <a:spcBef>
                <a:spcPct val="0"/>
              </a:spcBef>
              <a:spcAft>
                <a:spcPct val="0"/>
              </a:spcAft>
              <a:defRPr sz="1300" b="1">
                <a:solidFill>
                  <a:srgbClr val="164463"/>
                </a:solidFill>
                <a:latin typeface="Arial" pitchFamily="34" charset="0"/>
                <a:ea typeface="Batang" pitchFamily="18" charset="-127"/>
              </a:defRPr>
            </a:lvl8pPr>
            <a:lvl9pPr marL="3886200" indent="-228600" defTabSz="1006475" eaLnBrk="0" fontAlgn="base">
              <a:spcBef>
                <a:spcPct val="0"/>
              </a:spcBef>
              <a:spcAft>
                <a:spcPct val="0"/>
              </a:spcAft>
              <a:defRPr sz="1300" b="1">
                <a:solidFill>
                  <a:srgbClr val="164463"/>
                </a:solidFill>
                <a:latin typeface="Arial" pitchFamily="34" charset="0"/>
                <a:ea typeface="Batang" pitchFamily="18" charset="-127"/>
              </a:defRPr>
            </a:lvl9pPr>
          </a:lstStyle>
          <a:p>
            <a:r>
              <a:rPr lang="en-US" sz="1200" kern="1200" dirty="0" smtClean="0">
                <a:solidFill>
                  <a:schemeClr val="accent1">
                    <a:lumMod val="75000"/>
                  </a:schemeClr>
                </a:solidFill>
              </a:rPr>
              <a:t>FTSE: </a:t>
            </a:r>
            <a:r>
              <a:rPr lang="ru-RU" sz="1200" kern="1200" dirty="0" smtClean="0">
                <a:solidFill>
                  <a:schemeClr val="accent1">
                    <a:lumMod val="75000"/>
                  </a:schemeClr>
                </a:solidFill>
              </a:rPr>
              <a:t>Итоговая оценка повышена с 2.4 в 2017 г. до 3.0 в 2019 </a:t>
            </a:r>
            <a:r>
              <a:rPr lang="en-US" sz="1200" kern="1200" dirty="0" smtClean="0">
                <a:solidFill>
                  <a:schemeClr val="accent1">
                    <a:lumMod val="75000"/>
                  </a:schemeClr>
                </a:solidFill>
              </a:rPr>
              <a:t>(</a:t>
            </a:r>
            <a:r>
              <a:rPr lang="ru-RU" sz="1200" kern="1200" dirty="0" smtClean="0">
                <a:solidFill>
                  <a:schemeClr val="accent1">
                    <a:lumMod val="75000"/>
                  </a:schemeClr>
                </a:solidFill>
              </a:rPr>
              <a:t>из 5) </a:t>
            </a:r>
            <a:r>
              <a:rPr lang="en-US" sz="1200" kern="1200" baseline="30000" dirty="0" smtClean="0">
                <a:solidFill>
                  <a:schemeClr val="accent1">
                    <a:lumMod val="75000"/>
                  </a:schemeClr>
                </a:solidFill>
              </a:rPr>
              <a:t>2</a:t>
            </a:r>
            <a:r>
              <a:rPr lang="ru-RU" sz="1200" kern="1200" dirty="0" smtClean="0">
                <a:solidFill>
                  <a:schemeClr val="accent1">
                    <a:lumMod val="75000"/>
                  </a:schemeClr>
                </a:solidFill>
              </a:rPr>
              <a:t> , рейтинг «выше среднего»</a:t>
            </a:r>
            <a:endParaRPr lang="ru-RU" sz="1200" kern="1200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433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792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4&quot;&gt;&lt;elem m_fUsage=&quot;3.86832502040277015354E+00&quot;&gt;&lt;m_msothmcolidx val=&quot;0&quot;/&gt;&lt;m_rgb r=&quot;AB&quot; g=&quot;CE&quot; b=&quot;EB&quot;/&gt;&lt;m_nBrightness endver=&quot;26206&quot; val=&quot;0&quot;/&gt;&lt;/elem&gt;&lt;elem m_fUsage=&quot;1.73873790000000028044E+00&quot;&gt;&lt;m_msothmcolidx val=&quot;0&quot;/&gt;&lt;m_rgb r=&quot;F9&quot; g=&quot;B2&quot; b=&quot;34&quot;/&gt;&lt;m_nBrightness endver=&quot;26206&quot; val=&quot;0&quot;/&gt;&lt;/elem&gt;&lt;elem m_fUsage=&quot;1.46577494365982508029E+00&quot;&gt;&lt;m_msothmcolidx val=&quot;0&quot;/&gt;&lt;m_rgb r=&quot;1F&quot; g=&quot;A5&quot; b=&quot;76&quot;/&gt;&lt;m_nBrightness endver=&quot;26206&quot; val=&quot;0&quot;/&gt;&lt;/elem&gt;&lt;elem m_fUsage=&quot;6.56100000000000127542E-01&quot;&gt;&lt;m_msothmcolidx val=&quot;0&quot;/&gt;&lt;m_rgb r=&quot;8A&quot; g=&quot;BE&quot; b=&quot;E8&quot;/&gt;&lt;m_nBrightness endver=&quot;26206&quot; val=&quot;0&quot;/&gt;&lt;/elem&gt;&lt;elem m_fUsage=&quot;6.10599718344768116474E-01&quot;&gt;&lt;m_msothmcolidx val=&quot;0&quot;/&gt;&lt;m_rgb r=&quot;F0&quot; g=&quot;92&quot; b=&quot;30&quot;/&gt;&lt;m_nBrightness endver=&quot;26206&quot; val=&quot;0&quot;/&gt;&lt;/elem&gt;&lt;elem m_fUsage=&quot;5.91381213351462653449E-01&quot;&gt;&lt;m_msothmcolidx val=&quot;0&quot;/&gt;&lt;m_rgb r=&quot;EF&quot; g=&quot;B5&quot; b=&quot;8B&quot;/&gt;&lt;m_nBrightness endver=&quot;26206&quot; val=&quot;0&quot;/&gt;&lt;/elem&gt;&lt;elem m_fUsage=&quot;3.09281401834193558908E-01&quot;&gt;&lt;m_msothmcolidx val=&quot;0&quot;/&gt;&lt;m_rgb r=&quot;0D&quot; g=&quot;91&quot; b=&quot;34&quot;/&gt;&lt;m_nBrightness endver=&quot;26206&quot; val=&quot;0&quot;/&gt;&lt;/elem&gt;&lt;elem m_fUsage=&quot;1.66771816996665767086E-01&quot;&gt;&lt;m_msothmcolidx val=&quot;0&quot;/&gt;&lt;m_rgb r=&quot;82&quot; g=&quot;C6&quot; b=&quot;91&quot;/&gt;&lt;m_nBrightness endver=&quot;26206&quot; val=&quot;0&quot;/&gt;&lt;/elem&gt;&lt;elem m_fUsage=&quot;1.62165866192840985027E-01&quot;&gt;&lt;m_msothmcolidx val=&quot;0&quot;/&gt;&lt;m_rgb r=&quot;5B&quot; g=&quot;9B&quot; b=&quot;D5&quot;/&gt;&lt;m_nBrightness endver=&quot;26206&quot; val=&quot;0&quot;/&gt;&lt;/elem&gt;&lt;elem m_fUsage=&quot;1.50094635296999207030E-01&quot;&gt;&lt;m_msothmcolidx val=&quot;0&quot;/&gt;&lt;m_rgb r=&quot;BC&quot; g=&quot;DE&quot; b=&quot;C2&quot;/&gt;&lt;m_nBrightness endver=&quot;26206&quot; val=&quot;0&quot;/&gt;&lt;/elem&gt;&lt;elem m_fUsage=&quot;9.51603264558042866161E-02&quot;&gt;&lt;m_msothmcolidx val=&quot;0&quot;/&gt;&lt;m_rgb r=&quot;00&quot; g=&quot;77&quot; b=&quot;C8&quot;/&gt;&lt;m_nBrightness endver=&quot;26206&quot; val=&quot;0&quot;/&gt;&lt;/elem&gt;&lt;elem m_fUsage=&quot;7.97664430768725701837E-02&quot;&gt;&lt;m_msothmcolidx val=&quot;0&quot;/&gt;&lt;m_rgb r=&quot;86&quot; g=&quot;C8&quot; b=&quot;99&quot;/&gt;&lt;m_nBrightness endver=&quot;26206&quot; val=&quot;0&quot;/&gt;&lt;/elem&gt;&lt;elem m_fUsage=&quot;7.01222521856021130393E-02&quot;&gt;&lt;m_msothmcolidx val=&quot;0&quot;/&gt;&lt;m_rgb r=&quot;C1&quot; g=&quot;E6&quot; b=&quot;FF&quot;/&gt;&lt;m_nBrightness endver=&quot;26206&quot; val=&quot;0&quot;/&gt;&lt;/elem&gt;&lt;elem m_fUsage=&quot;3.48900159019275429850E-02&quot;&gt;&lt;m_msothmcolidx val=&quot;0&quot;/&gt;&lt;m_rgb r=&quot;00&quot; g=&quot;4C&quot; b=&quot;97&quot;/&gt;&lt;m_nBrightness endver=&quot;26206&quot; val=&quot;0&quot;/&gt;&lt;/elem&gt;&lt;elem m_fUsage=&quot;1.76964345427997940801E-04&quot;&gt;&lt;m_msothmcolidx val=&quot;0&quot;/&gt;&lt;m_rgb r=&quot;00&quot; g=&quot;4C&quot; b=&quot;73&quot;/&gt;&lt;m_nBrightness endver=&quot;26206&quot; val=&quot;0&quot;/&gt;&lt;/elem&gt;&lt;elem m_fUsage=&quot;1.44736961287146418970E-04&quot;&gt;&lt;m_msothmcolidx val=&quot;0&quot;/&gt;&lt;m_rgb r=&quot;97&quot; g=&quot;97&quot; b=&quot;97&quot;/&gt;&lt;m_nBrightness endver=&quot;26206&quot; val=&quot;0&quot;/&gt;&lt;/elem&gt;&lt;elem m_fUsage=&quot;1.16106307035309465380E-04&quot;&gt;&lt;m_msothmcolidx val=&quot;0&quot;/&gt;&lt;m_rgb r=&quot;5B&quot; g=&quot;9B&quot; b=&quot;6A&quot;/&gt;&lt;m_nBrightness endver=&quot;26206&quot; val=&quot;0&quot;/&gt;&lt;/elem&gt;&lt;elem m_fUsage=&quot;1.04495676331778526973E-04&quot;&gt;&lt;m_msothmcolidx val=&quot;0&quot;/&gt;&lt;m_rgb r=&quot;44&quot; g=&quot;54&quot; b=&quot;6A&quot;/&gt;&lt;m_nBrightness endver=&quot;26206&quot; val=&quot;0&quot;/&gt;&lt;/elem&gt;&lt;elem m_fUsage=&quot;9.40461086986006715655E-05&quot;&gt;&lt;m_msothmcolidx val=&quot;0&quot;/&gt;&lt;m_rgb r=&quot;EF&quot; g=&quot;6C&quot; b=&quot;B0&quot;/&gt;&lt;m_nBrightness endver=&quot;26206&quot; val=&quot;0&quot;/&gt;&lt;/elem&gt;&lt;elem m_fUsage=&quot;8.46414978287406111852E-05&quot;&gt;&lt;m_msothmcolidx val=&quot;0&quot;/&gt;&lt;m_rgb r=&quot;C9&quot; g=&quot;C9&quot; b=&quot;C9&quot;/&gt;&lt;m_nBrightness endver=&quot;26206&quot; val=&quot;0&quot;/&gt;&lt;/elem&gt;&lt;elem m_fUsage=&quot;6.17036519171519230774E-05&quot;&gt;&lt;m_msothmcolidx val=&quot;0&quot;/&gt;&lt;m_rgb r=&quot;DE&quot; g=&quot;EB&quot; b=&quot;F7&quot;/&gt;&lt;m_nBrightness endver=&quot;26206&quot; val=&quot;0&quot;/&gt;&lt;/elem&gt;&lt;elem m_fUsage=&quot;1.93632597890513220450E-05&quot;&gt;&lt;m_msothmcolidx val=&quot;0&quot;/&gt;&lt;m_rgb r=&quot;0F&quot; g=&quot;B9&quot; b=&quot;2D&quot;/&gt;&lt;m_nBrightness endver=&quot;26206&quot; val=&quot;0&quot;/&gt;&lt;/elem&gt;&lt;elem m_fUsage=&quot;1.74269338101461915345E-05&quot;&gt;&lt;m_msothmcolidx val=&quot;0&quot;/&gt;&lt;m_rgb r=&quot;FF&quot; g=&quot;C0&quot; b=&quot;00&quot;/&gt;&lt;m_nBrightness endver=&quot;26206&quot; val=&quot;0&quot;/&gt;&lt;/elem&gt;&lt;elem m_fUsage=&quot;5.49861681697223815828E-06&quot;&gt;&lt;m_msothmcolidx val=&quot;0&quot;/&gt;&lt;m_rgb r=&quot;23&quot; g=&quot;6C&quot; b=&quot;B0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C9oIqkT2uUpLK_hj68S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RBW4RcRJ.dn_zytqs6X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XGIC.vTAKbfYsuq7BEt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MiRivtRcGS.SYZslFlu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n0ifH9R.uOx_SvXXA34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V6E7eBQTu4JO6rjn._A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oIISMpTJOGUcdTdHTHJ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60QsD.PR36y8SYtp7TdU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hC23OFQJirg9kkvXlz3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XmBnxJQlSRl.KRXCyaP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.sFyqFR6Cfdr3sdil5L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5K4K467SqC_TsXHKLXix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D5tE3mQB2aIjG6kxHXe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dmjTqF7SxWSIDShOQeSg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Di3g_45OxDqlv3RAiHD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z8kKYwSPSJVO4Q1XlDl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EqWtwbSE6Tvcl2w17gz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aH.I.DROmUlqA6sCctZ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ERIF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OOFbwER8ytyxeSIWoO4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eUuPSxRE2WnsVMSsiCi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EVgp_URCuYV6AIUvyX_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QAtE1ARs.8YcUmvXR.8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uQGEWVT4uRFCWNwnb0n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8BacixQ7KKUVflY0iWK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Jks_QlTye4sTxbgkHPo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FONT STYLE" val="SANS SERIF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5Cnd7d1Q_SyIXHht3cWe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XKKu3dSi.o.hWdTFpdn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1"/>
  <p:tag name="COL" val="2"/>
  <p:tag name="TOP" val="118"/>
  <p:tag name="LEFT" val="410.5"/>
  <p:tag name="WIDTH" val="329.625"/>
  <p:tag name="HEIGHT" val="28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cLFvFZTtW79wzg6IcJI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OURCE PARENT" val="Picture 9"/>
  <p:tag name="SOURCE" val="Text Box 10"/>
  <p:tag name="FONT STYLE" val="SANS SERIF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ERSION" val="2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sQcj3ITEO3SEJHw2xpG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2"/>
  <p:tag name="COL" val="1"/>
  <p:tag name="TOP" val="320"/>
  <p:tag name="LEFT" val="59.25"/>
  <p:tag name="WIDTH" val="329.625"/>
  <p:tag name="HEIGHT" val="28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2"/>
  <p:tag name="COL" val="1"/>
  <p:tag name="TOP" val="320"/>
  <p:tag name="LEFT" val="59.25"/>
  <p:tag name="WIDTH" val="329.625"/>
  <p:tag name="HEIGHT" val="28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2"/>
  <p:tag name="COL" val="1"/>
  <p:tag name="TOP" val="320"/>
  <p:tag name="LEFT" val="59.25"/>
  <p:tag name="WIDTH" val="329.625"/>
  <p:tag name="HEIGHT" val="28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2"/>
  <p:tag name="COL" val="1"/>
  <p:tag name="TOP" val="320"/>
  <p:tag name="LEFT" val="59.25"/>
  <p:tag name="WIDTH" val="329.625"/>
  <p:tag name="HEIGHT" val="28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1"/>
  <p:tag name="COL" val="2"/>
  <p:tag name="TOP" val="118"/>
  <p:tag name="LEFT" val="410.5"/>
  <p:tag name="WIDTH" val="329.625"/>
  <p:tag name="HEIGHT" val="28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8kzSkVG9U.7g32wccC2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XGIC.vTAKbfYsuq7BEt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XGIC.vTAKbfYsuq7BEt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5fOdHWRaC_9bJw45g7Y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O19TONURlaIRad9u2dLi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UApsAPTGaJMLz.P2mgy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ZVmweKREe_.twDJItDE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LOGOa9Qee233cDwrjgL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Np36EVTL.rS2pB_FDx4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KiCc5CTwGdZbkEYGZo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bTX9w.Td.hDCRFe7k6O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bENTUpRPK4q37vCrvug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1eu615TDi5uWTMiGjJK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UpagWNRQGCFIaPqV8Q7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YOzOo8SUCRTwy2XWx6L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CT8U79R0CNlA4KVv53N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bUxYZoR9iNfeJpFPTLZ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RGlcukiSCyL.Wg.0ed7Y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agIiLjSSauB3aIpj3zp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5E5KC6TVCYoZ5ThrqDJ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h1mnyvQ36Rx_YjfB2c_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aaBJ92QXqN86G_PXqR9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FKoxM9TeCz2JxbENjl_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gYZYE4RRCPuhvsyN1JmQ"/>
</p:tagLst>
</file>

<file path=ppt/theme/theme1.xml><?xml version="1.0" encoding="utf-8"?>
<a:theme xmlns:a="http://schemas.openxmlformats.org/drawingml/2006/main" name="Investors">
  <a:themeElements>
    <a:clrScheme name="Nornickel">
      <a:dk1>
        <a:sysClr val="windowText" lastClr="000000"/>
      </a:dk1>
      <a:lt1>
        <a:sysClr val="window" lastClr="FFFFFF"/>
      </a:lt1>
      <a:dk2>
        <a:srgbClr val="004C97"/>
      </a:dk2>
      <a:lt2>
        <a:srgbClr val="E7E6E6"/>
      </a:lt2>
      <a:accent1>
        <a:srgbClr val="0077C8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Другая 3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 bwMode="auto">
        <a:solidFill>
          <a:schemeClr val="accent1"/>
        </a:solidFill>
        <a:ln w="19050" cap="flat" cmpd="sng" algn="ctr">
          <a:solidFill>
            <a:srgbClr val="0077C8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17961" dir="2700000" algn="ctr" rotWithShape="0">
                  <a:schemeClr val="accent1">
                    <a:gamma/>
                    <a:shade val="60000"/>
                    <a:invGamma/>
                  </a:schemeClr>
                </a:outerShdw>
              </a:effectLst>
            </a14:hiddenEffects>
          </a:ext>
        </a:extLst>
      </a:spPr>
      <a:bodyPr/>
      <a:lstStyle/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report_slides">
  <a:themeElements>
    <a:clrScheme name="НН0512">
      <a:dk1>
        <a:srgbClr val="000000"/>
      </a:dk1>
      <a:lt1>
        <a:sysClr val="window" lastClr="FFFFFF"/>
      </a:lt1>
      <a:dk2>
        <a:srgbClr val="EF7F1A"/>
      </a:dk2>
      <a:lt2>
        <a:srgbClr val="DA6969"/>
      </a:lt2>
      <a:accent1>
        <a:srgbClr val="004C97"/>
      </a:accent1>
      <a:accent2>
        <a:srgbClr val="0077C8"/>
      </a:accent2>
      <a:accent3>
        <a:srgbClr val="4DA2D7"/>
      </a:accent3>
      <a:accent4>
        <a:srgbClr val="A9D4EA"/>
      </a:accent4>
      <a:accent5>
        <a:srgbClr val="626262"/>
      </a:accent5>
      <a:accent6>
        <a:srgbClr val="9D9E9E"/>
      </a:accent6>
      <a:hlink>
        <a:srgbClr val="0077C8"/>
      </a:hlink>
      <a:folHlink>
        <a:srgbClr val="9D9E9E"/>
      </a:folHlink>
    </a:clrScheme>
    <a:fontScheme name="НорНикель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</a:spPr>
      <a:bodyPr vert="horz" lIns="252000" tIns="90000" rIns="252000" bIns="90000" rtlCol="0">
        <a:normAutofit/>
      </a:bodyPr>
      <a:lstStyle>
        <a:defPPr>
          <a:spcBef>
            <a:spcPts val="1200"/>
          </a:spcBef>
          <a:buFont typeface="Arial" panose="020B0604020202020204" pitchFamily="34" charset="0"/>
          <a:buNone/>
          <a:defRPr sz="1400" dirty="0" err="1" smtClean="0">
            <a:solidFill>
              <a:schemeClr val="bg1"/>
            </a:solidFill>
          </a:defRPr>
        </a:defPPr>
      </a:lstStyle>
    </a:spDef>
    <a:lnDef>
      <a:spPr>
        <a:ln w="1270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182563" indent="-182563">
          <a:buClr>
            <a:schemeClr val="accent2"/>
          </a:buClr>
          <a:buFont typeface="Tahoma" panose="020B0604030504040204" pitchFamily="34" charset="0"/>
          <a:buChar char="●"/>
          <a:defRPr sz="1400" dirty="0" err="1"/>
        </a:defPPr>
      </a:lstStyle>
    </a:txDef>
  </a:objectDefaults>
  <a:extraClrSchemeLst/>
  <a:extLst>
    <a:ext uri="{05A4C25C-085E-4340-85A3-A5531E510DB2}">
      <thm15:themeFamily xmlns:thm15="http://schemas.microsoft.com/office/thememl/2012/main" name="report_slides" id="{FA00AF7E-27D4-4961-ABB5-D0EA9ACEF71F}" vid="{86EC710B-6E09-40DE-BDCC-C1247EE0BFA5}"/>
    </a:ext>
  </a:extLst>
</a:theme>
</file>

<file path=ppt/theme/theme3.xml><?xml version="1.0" encoding="utf-8"?>
<a:theme xmlns:a="http://schemas.openxmlformats.org/drawingml/2006/main" name="18_Section_Divider">
  <a:themeElements>
    <a:clrScheme name="Section_Divider 2">
      <a:dk1>
        <a:srgbClr val="000000"/>
      </a:dk1>
      <a:lt1>
        <a:srgbClr val="FFFFFF"/>
      </a:lt1>
      <a:dk2>
        <a:srgbClr val="14446C"/>
      </a:dk2>
      <a:lt2>
        <a:srgbClr val="E2E5EA"/>
      </a:lt2>
      <a:accent1>
        <a:srgbClr val="236CB0"/>
      </a:accent1>
      <a:accent2>
        <a:srgbClr val="CCDDED"/>
      </a:accent2>
      <a:accent3>
        <a:srgbClr val="FFFFFF"/>
      </a:accent3>
      <a:accent4>
        <a:srgbClr val="000000"/>
      </a:accent4>
      <a:accent5>
        <a:srgbClr val="ACBAD4"/>
      </a:accent5>
      <a:accent6>
        <a:srgbClr val="B9C8D7"/>
      </a:accent6>
      <a:hlink>
        <a:srgbClr val="979797"/>
      </a:hlink>
      <a:folHlink>
        <a:srgbClr val="F09230"/>
      </a:folHlink>
    </a:clrScheme>
    <a:fontScheme name="Section_Divider">
      <a:majorFont>
        <a:latin typeface="Arial"/>
        <a:ea typeface="Batang"/>
        <a:cs typeface="Arial"/>
      </a:majorFont>
      <a:minorFont>
        <a:latin typeface="Arial"/>
        <a:ea typeface="Batang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19050" cap="flat" cmpd="sng" algn="ctr">
              <a:solidFill>
                <a:srgbClr val="969696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17961" dir="2700000" algn="ctr" rotWithShape="0">
                  <a:schemeClr val="accent1">
                    <a:gamma/>
                    <a:shade val="60000"/>
                    <a:invGamma/>
                  </a:schemeClr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1300" b="1" i="0" u="none" strike="noStrike" cap="none" normalizeH="0" baseline="0" smtClean="0">
            <a:ln>
              <a:noFill/>
            </a:ln>
            <a:solidFill>
              <a:srgbClr val="164463"/>
            </a:solidFill>
            <a:effectLst/>
            <a:latin typeface="Arial" charset="0"/>
            <a:ea typeface="Batang" pitchFamily="18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19050" cap="flat" cmpd="sng" algn="ctr">
              <a:solidFill>
                <a:srgbClr val="969696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17961" dir="2700000" algn="ctr" rotWithShape="0">
                  <a:schemeClr val="accent1">
                    <a:gamma/>
                    <a:shade val="60000"/>
                    <a:invGamma/>
                  </a:schemeClr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1300" b="1" i="0" u="none" strike="noStrike" cap="none" normalizeH="0" baseline="0" smtClean="0">
            <a:ln>
              <a:noFill/>
            </a:ln>
            <a:solidFill>
              <a:srgbClr val="164463"/>
            </a:solidFill>
            <a:effectLst/>
            <a:latin typeface="Arial" charset="0"/>
            <a:ea typeface="Batang" pitchFamily="18" charset="-127"/>
          </a:defRPr>
        </a:defPPr>
      </a:lstStyle>
    </a:lnDef>
  </a:objectDefaults>
  <a:extraClrSchemeLst>
    <a:extraClrScheme>
      <a:clrScheme name="Section_Divider 1">
        <a:dk1>
          <a:srgbClr val="181842"/>
        </a:dk1>
        <a:lt1>
          <a:srgbClr val="FFFFFF"/>
        </a:lt1>
        <a:dk2>
          <a:srgbClr val="587281"/>
        </a:dk2>
        <a:lt2>
          <a:srgbClr val="6D6D6D"/>
        </a:lt2>
        <a:accent1>
          <a:srgbClr val="365886"/>
        </a:accent1>
        <a:accent2>
          <a:srgbClr val="6E4064"/>
        </a:accent2>
        <a:accent3>
          <a:srgbClr val="FFFFFF"/>
        </a:accent3>
        <a:accent4>
          <a:srgbClr val="131337"/>
        </a:accent4>
        <a:accent5>
          <a:srgbClr val="AEB4C3"/>
        </a:accent5>
        <a:accent6>
          <a:srgbClr val="63395A"/>
        </a:accent6>
        <a:hlink>
          <a:srgbClr val="A2958F"/>
        </a:hlink>
        <a:folHlink>
          <a:srgbClr val="4B6C7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ection_Divider 2">
        <a:dk1>
          <a:srgbClr val="000000"/>
        </a:dk1>
        <a:lt1>
          <a:srgbClr val="FFFFFF"/>
        </a:lt1>
        <a:dk2>
          <a:srgbClr val="14446C"/>
        </a:dk2>
        <a:lt2>
          <a:srgbClr val="E2E5EA"/>
        </a:lt2>
        <a:accent1>
          <a:srgbClr val="236CB0"/>
        </a:accent1>
        <a:accent2>
          <a:srgbClr val="CCDDED"/>
        </a:accent2>
        <a:accent3>
          <a:srgbClr val="FFFFFF"/>
        </a:accent3>
        <a:accent4>
          <a:srgbClr val="000000"/>
        </a:accent4>
        <a:accent5>
          <a:srgbClr val="ACBAD4"/>
        </a:accent5>
        <a:accent6>
          <a:srgbClr val="B9C8D7"/>
        </a:accent6>
        <a:hlink>
          <a:srgbClr val="979797"/>
        </a:hlink>
        <a:folHlink>
          <a:srgbClr val="F092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report_slides">
  <a:themeElements>
    <a:clrScheme name="НН0512">
      <a:dk1>
        <a:srgbClr val="000000"/>
      </a:dk1>
      <a:lt1>
        <a:sysClr val="window" lastClr="FFFFFF"/>
      </a:lt1>
      <a:dk2>
        <a:srgbClr val="EF7F1A"/>
      </a:dk2>
      <a:lt2>
        <a:srgbClr val="DA6969"/>
      </a:lt2>
      <a:accent1>
        <a:srgbClr val="004C97"/>
      </a:accent1>
      <a:accent2>
        <a:srgbClr val="0077C8"/>
      </a:accent2>
      <a:accent3>
        <a:srgbClr val="4DA2D7"/>
      </a:accent3>
      <a:accent4>
        <a:srgbClr val="A9D4EA"/>
      </a:accent4>
      <a:accent5>
        <a:srgbClr val="626262"/>
      </a:accent5>
      <a:accent6>
        <a:srgbClr val="9D9E9E"/>
      </a:accent6>
      <a:hlink>
        <a:srgbClr val="0077C8"/>
      </a:hlink>
      <a:folHlink>
        <a:srgbClr val="9D9E9E"/>
      </a:folHlink>
    </a:clrScheme>
    <a:fontScheme name="НорНикель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</a:spPr>
      <a:bodyPr vert="horz" lIns="252000" tIns="90000" rIns="252000" bIns="90000" rtlCol="0">
        <a:normAutofit/>
      </a:bodyPr>
      <a:lstStyle>
        <a:defPPr>
          <a:spcBef>
            <a:spcPts val="1200"/>
          </a:spcBef>
          <a:buFont typeface="Arial" panose="020B0604020202020204" pitchFamily="34" charset="0"/>
          <a:buNone/>
          <a:defRPr sz="1400" dirty="0" err="1" smtClean="0">
            <a:solidFill>
              <a:schemeClr val="bg1"/>
            </a:solidFill>
          </a:defRPr>
        </a:defPPr>
      </a:lstStyle>
    </a:spDef>
    <a:lnDef>
      <a:spPr>
        <a:ln w="1270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182563" indent="-182563">
          <a:buClr>
            <a:schemeClr val="accent2"/>
          </a:buClr>
          <a:buFont typeface="Tahoma" panose="020B0604030504040204" pitchFamily="34" charset="0"/>
          <a:buChar char="●"/>
          <a:defRPr sz="1400" dirty="0" err="1"/>
        </a:defPPr>
      </a:lstStyle>
    </a:txDef>
  </a:objectDefaults>
  <a:extraClrSchemeLst/>
  <a:extLst>
    <a:ext uri="{05A4C25C-085E-4340-85A3-A5531E510DB2}">
      <thm15:themeFamily xmlns:thm15="http://schemas.microsoft.com/office/thememl/2012/main" name="report_slides" id="{FA00AF7E-27D4-4961-ABB5-D0EA9ACEF71F}" vid="{86EC710B-6E09-40DE-BDCC-C1247EE0BFA5}"/>
    </a:ext>
  </a:extLst>
</a:theme>
</file>

<file path=ppt/theme/theme5.xml><?xml version="1.0" encoding="utf-8"?>
<a:theme xmlns:a="http://schemas.openxmlformats.org/drawingml/2006/main" name="2_report_slides">
  <a:themeElements>
    <a:clrScheme name="НН0512">
      <a:dk1>
        <a:srgbClr val="000000"/>
      </a:dk1>
      <a:lt1>
        <a:sysClr val="window" lastClr="FFFFFF"/>
      </a:lt1>
      <a:dk2>
        <a:srgbClr val="EF7F1A"/>
      </a:dk2>
      <a:lt2>
        <a:srgbClr val="DA6969"/>
      </a:lt2>
      <a:accent1>
        <a:srgbClr val="004C97"/>
      </a:accent1>
      <a:accent2>
        <a:srgbClr val="0077C8"/>
      </a:accent2>
      <a:accent3>
        <a:srgbClr val="4DA2D7"/>
      </a:accent3>
      <a:accent4>
        <a:srgbClr val="A9D4EA"/>
      </a:accent4>
      <a:accent5>
        <a:srgbClr val="626262"/>
      </a:accent5>
      <a:accent6>
        <a:srgbClr val="9D9E9E"/>
      </a:accent6>
      <a:hlink>
        <a:srgbClr val="0077C8"/>
      </a:hlink>
      <a:folHlink>
        <a:srgbClr val="9D9E9E"/>
      </a:folHlink>
    </a:clrScheme>
    <a:fontScheme name="НорНикель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</a:spPr>
      <a:bodyPr vert="horz" lIns="252000" tIns="90000" rIns="252000" bIns="90000" rtlCol="0">
        <a:normAutofit/>
      </a:bodyPr>
      <a:lstStyle>
        <a:defPPr>
          <a:spcBef>
            <a:spcPts val="1200"/>
          </a:spcBef>
          <a:buFont typeface="Arial" panose="020B0604020202020204" pitchFamily="34" charset="0"/>
          <a:buNone/>
          <a:defRPr sz="1400" dirty="0" err="1" smtClean="0">
            <a:solidFill>
              <a:schemeClr val="bg1"/>
            </a:solidFill>
          </a:defRPr>
        </a:defPPr>
      </a:lstStyle>
    </a:spDef>
    <a:lnDef>
      <a:spPr>
        <a:ln w="1270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182563" indent="-182563">
          <a:buClr>
            <a:schemeClr val="accent2"/>
          </a:buClr>
          <a:buFont typeface="Tahoma" panose="020B0604030504040204" pitchFamily="34" charset="0"/>
          <a:buChar char="●"/>
          <a:defRPr sz="1400" dirty="0" err="1"/>
        </a:defPPr>
      </a:lstStyle>
    </a:txDef>
  </a:objectDefaults>
  <a:extraClrSchemeLst/>
  <a:extLst>
    <a:ext uri="{05A4C25C-085E-4340-85A3-A5531E510DB2}">
      <thm15:themeFamily xmlns:thm15="http://schemas.microsoft.com/office/thememl/2012/main" name="report_slides" id="{FA00AF7E-27D4-4961-ABB5-D0EA9ACEF71F}" vid="{86EC710B-6E09-40DE-BDCC-C1247EE0BFA5}"/>
    </a:ext>
  </a:extLst>
</a:theme>
</file>

<file path=ppt/theme/theme6.xml><?xml version="1.0" encoding="utf-8"?>
<a:theme xmlns:a="http://schemas.openxmlformats.org/drawingml/2006/main" name="Nornickel Grid 16:9">
  <a:themeElements>
    <a:clrScheme name="Nornickel">
      <a:dk1>
        <a:srgbClr val="2B2A29"/>
      </a:dk1>
      <a:lt1>
        <a:sysClr val="window" lastClr="FFFFFF"/>
      </a:lt1>
      <a:dk2>
        <a:srgbClr val="004C97"/>
      </a:dk2>
      <a:lt2>
        <a:srgbClr val="F2F2F2"/>
      </a:lt2>
      <a:accent1>
        <a:srgbClr val="000C18"/>
      </a:accent1>
      <a:accent2>
        <a:srgbClr val="002E5C"/>
      </a:accent2>
      <a:accent3>
        <a:srgbClr val="EF7F1A"/>
      </a:accent3>
      <a:accent4>
        <a:srgbClr val="DA6969"/>
      </a:accent4>
      <a:accent5>
        <a:srgbClr val="626262"/>
      </a:accent5>
      <a:accent6>
        <a:srgbClr val="EDB4B4"/>
      </a:accent6>
      <a:hlink>
        <a:srgbClr val="4DA2D7"/>
      </a:hlink>
      <a:folHlink>
        <a:srgbClr val="F7BF8C"/>
      </a:folHlink>
    </a:clrScheme>
    <a:fontScheme name="Nornickel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>
          <a:noFill/>
          <a:prstDash val="sysDot"/>
          <a:round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7.xml><?xml version="1.0" encoding="utf-8"?>
<a:theme xmlns:a="http://schemas.openxmlformats.org/drawingml/2006/main" name="Тема Office">
  <a:themeElements>
    <a:clrScheme name="Тема Offic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004C97"/>
      </a:accent1>
      <a:accent2>
        <a:srgbClr val="4D82B6"/>
      </a:accent2>
      <a:accent3>
        <a:srgbClr val="99B7D5"/>
      </a:accent3>
      <a:accent4>
        <a:srgbClr val="CCDBEA"/>
      </a:accent4>
      <a:accent5>
        <a:srgbClr val="0077C8"/>
      </a:accent5>
      <a:accent6>
        <a:srgbClr val="002B55"/>
      </a:accent6>
      <a:hlink>
        <a:srgbClr val="0000FF"/>
      </a:hlink>
      <a:folHlink>
        <a:srgbClr val="FF00FF"/>
      </a:folHlink>
    </a:clrScheme>
    <a:fontScheme name="Тема Office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>
          <a:outerShdw blurRad="38100" dist="230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1F1B1A"/>
            </a:solidFill>
            <a:effectLst/>
            <a:uFillTx/>
            <a:latin typeface="Tahoma"/>
            <a:ea typeface="Tahoma"/>
            <a:cs typeface="Tahoma"/>
            <a:sym typeface="Tahom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00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1F1B1A"/>
            </a:solidFill>
            <a:effectLst/>
            <a:uFillTx/>
            <a:latin typeface="Tahoma"/>
            <a:ea typeface="Tahoma"/>
            <a:cs typeface="Tahoma"/>
            <a:sym typeface="Tahom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resentationIDs xmlns="1AC48166-071D-43D2-87EB-7932C09F5C48" xsi:nil="true"/>
    <Abbreviation xmlns="1AC48166-071D-43D2-87EB-7932C09F5C48" xsi:nil="true"/>
    <Region xmlns="1AC48166-071D-43D2-87EB-7932C09F5C48" xsi:nil="true"/>
    <CompanyName xmlns="1AC48166-071D-43D2-87EB-7932C09F5C48" xsi:nil="true"/>
    <ProjectName xmlns="1AC48166-071D-43D2-87EB-7932C09F5C48" xsi:nil="true"/>
    <ProjectOpportunityId xmlns="1AC48166-071D-43D2-87EB-7932C09F5C48" xsi:nil="true"/>
    <Country xmlns="1AC48166-071D-43D2-87EB-7932C09F5C48" xsi:nil="true"/>
    <Products xmlns="1AC48166-071D-43D2-87EB-7932C09F5C48" xsi:nil="true"/>
    <CompanyId xmlns="1AC48166-071D-43D2-87EB-7932C09F5C48" xsi:nil="true"/>
    <Sectors xmlns="1AC48166-071D-43D2-87EB-7932C09F5C48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Generic Document" ma:contentTypeID="0x010100D90557FF080F4CB4B7E7ECF37C5C350500CED7EFA331FAE14AB9250E7DED53D0D5" ma:contentTypeVersion="2" ma:contentTypeDescription="Word-based template used to create documents outside of the UBS style" ma:contentTypeScope="" ma:versionID="9753e40cf9b3691ab7161e5a47109341">
  <xsd:schema xmlns:xsd="http://www.w3.org/2001/XMLSchema" xmlns:xs="http://www.w3.org/2001/XMLSchema" xmlns:p="http://schemas.microsoft.com/office/2006/metadata/properties" xmlns:ns3="1AC48166-071D-43D2-87EB-7932C09F5C48" targetNamespace="http://schemas.microsoft.com/office/2006/metadata/properties" ma:root="true" ma:fieldsID="f551f2dfeb320389ddd4a4471fb8d7b4" ns3:_="">
    <xsd:import namespace="1AC48166-071D-43D2-87EB-7932C09F5C48"/>
    <xsd:element name="properties">
      <xsd:complexType>
        <xsd:sequence>
          <xsd:element name="documentManagement">
            <xsd:complexType>
              <xsd:all>
                <xsd:element ref="ns3:PresentationIDs" minOccurs="0"/>
                <xsd:element ref="ns3:Products" minOccurs="0"/>
                <xsd:element ref="ns3:Sectors" minOccurs="0"/>
                <xsd:element ref="ns3:Region" minOccurs="0"/>
                <xsd:element ref="ns3:Country" minOccurs="0"/>
                <xsd:element ref="ns3:CompanyName" minOccurs="0"/>
                <xsd:element ref="ns3:ProjectName" minOccurs="0"/>
                <xsd:element ref="ns3:Abbreviation" minOccurs="0"/>
                <xsd:element ref="ns3:ProjectOpportunityId" minOccurs="0"/>
                <xsd:element ref="ns3:Company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C48166-071D-43D2-87EB-7932C09F5C48" elementFormDefault="qualified">
    <xsd:import namespace="http://schemas.microsoft.com/office/2006/documentManagement/types"/>
    <xsd:import namespace="http://schemas.microsoft.com/office/infopath/2007/PartnerControls"/>
    <xsd:element name="PresentationIDs" ma:index="9" nillable="true" ma:displayName="Presentation IDs" ma:description="List of Presentation IDs, seperated by a ;" ma:internalName="PresentationIDs">
      <xsd:simpleType>
        <xsd:restriction base="dms:Text">
          <xsd:maxLength value="255"/>
        </xsd:restriction>
      </xsd:simpleType>
    </xsd:element>
    <xsd:element name="Products" ma:index="10" nillable="true" ma:displayName="Products" ma:description="Opp Products, seperated by a ;" ma:internalName="Products">
      <xsd:simpleType>
        <xsd:restriction base="dms:Text">
          <xsd:maxLength value="255"/>
        </xsd:restriction>
      </xsd:simpleType>
    </xsd:element>
    <xsd:element name="Sectors" ma:index="11" nillable="true" ma:displayName="Sectors" ma:description="Opp Sectors, seperated by a ;" ma:internalName="Sectors">
      <xsd:simpleType>
        <xsd:restriction base="dms:Text">
          <xsd:maxLength value="255"/>
        </xsd:restriction>
      </xsd:simpleType>
    </xsd:element>
    <xsd:element name="Region" ma:index="12" nillable="true" ma:displayName="Region" ma:description="List of Regions, seperated by a ;" ma:internalName="Region">
      <xsd:simpleType>
        <xsd:restriction base="dms:Text">
          <xsd:maxLength value="255"/>
        </xsd:restriction>
      </xsd:simpleType>
    </xsd:element>
    <xsd:element name="Country" ma:index="13" nillable="true" ma:displayName="Country" ma:description="List of Countries, seperated by a ;" ma:internalName="Country">
      <xsd:simpleType>
        <xsd:restriction base="dms:Text">
          <xsd:maxLength value="255"/>
        </xsd:restriction>
      </xsd:simpleType>
    </xsd:element>
    <xsd:element name="CompanyName" ma:index="14" nillable="true" ma:displayName="Company Name" ma:description="Opp Company Name" ma:internalName="CompanyName">
      <xsd:simpleType>
        <xsd:restriction base="dms:Text">
          <xsd:maxLength value="255"/>
        </xsd:restriction>
      </xsd:simpleType>
    </xsd:element>
    <xsd:element name="ProjectName" ma:index="15" nillable="true" ma:displayName="Project Name" ma:description="Opp Project Name" ma:internalName="ProjectName">
      <xsd:simpleType>
        <xsd:restriction base="dms:Text">
          <xsd:maxLength value="255"/>
        </xsd:restriction>
      </xsd:simpleType>
    </xsd:element>
    <xsd:element name="Abbreviation" ma:index="16" nillable="true" ma:displayName="Abbreviation" ma:description="Opp Abbreviation" ma:internalName="Abbreviation">
      <xsd:simpleType>
        <xsd:restriction base="dms:Text">
          <xsd:maxLength value="255"/>
        </xsd:restriction>
      </xsd:simpleType>
    </xsd:element>
    <xsd:element name="ProjectOpportunityId" ma:index="17" nillable="true" ma:displayName="Project Opportunity Id" ma:description="Opp Project Id" ma:internalName="ProjectOpportunityId">
      <xsd:simpleType>
        <xsd:restriction base="dms:Text">
          <xsd:maxLength value="255"/>
        </xsd:restriction>
      </xsd:simpleType>
    </xsd:element>
    <xsd:element name="CompanyId" ma:index="18" nillable="true" ma:displayName="Company Id" ma:description="Opp Company Id" ma:internalName="CompanyId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 ma:index="8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20568C9-6D0F-4D1C-B5CE-337706D06E01}">
  <ds:schemaRefs>
    <ds:schemaRef ds:uri="http://purl.org/dc/elements/1.1/"/>
    <ds:schemaRef ds:uri="http://schemas.microsoft.com/office/2006/documentManagement/types"/>
    <ds:schemaRef ds:uri="http://purl.org/dc/terms/"/>
    <ds:schemaRef ds:uri="http://schemas.microsoft.com/office/infopath/2007/PartnerControls"/>
    <ds:schemaRef ds:uri="1AC48166-071D-43D2-87EB-7932C09F5C48"/>
    <ds:schemaRef ds:uri="http://www.w3.org/XML/1998/namespace"/>
    <ds:schemaRef ds:uri="http://schemas.microsoft.com/office/2006/metadata/properties"/>
    <ds:schemaRef ds:uri="http://purl.org/dc/dcmitype/"/>
    <ds:schemaRef ds:uri="http://schemas.openxmlformats.org/package/2006/metadata/core-properties"/>
  </ds:schemaRefs>
</ds:datastoreItem>
</file>

<file path=customXml/itemProps2.xml><?xml version="1.0" encoding="utf-8"?>
<ds:datastoreItem xmlns:ds="http://schemas.openxmlformats.org/officeDocument/2006/customXml" ds:itemID="{8B6720DA-AB60-4FBB-B46C-B3AC443D980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3125D5F-82D6-4E13-9569-7AE4E2D1CBA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AC48166-071D-43D2-87EB-7932C09F5C4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911</TotalTime>
  <Words>570</Words>
  <Application>Microsoft Office PowerPoint</Application>
  <PresentationFormat>Экран (4:3)</PresentationFormat>
  <Paragraphs>108</Paragraphs>
  <Slides>5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5</vt:i4>
      </vt:variant>
    </vt:vector>
  </HeadingPairs>
  <TitlesOfParts>
    <vt:vector size="22" baseType="lpstr">
      <vt:lpstr>Arial Unicode MS</vt:lpstr>
      <vt:lpstr>Batang</vt:lpstr>
      <vt:lpstr>Arial</vt:lpstr>
      <vt:lpstr>Calibri</vt:lpstr>
      <vt:lpstr>Proxima Nova</vt:lpstr>
      <vt:lpstr>Symbol</vt:lpstr>
      <vt:lpstr>Tahoma</vt:lpstr>
      <vt:lpstr>Trebuchet MS</vt:lpstr>
      <vt:lpstr>Wingdings</vt:lpstr>
      <vt:lpstr>Investors</vt:lpstr>
      <vt:lpstr>report_slides</vt:lpstr>
      <vt:lpstr>18_Section_Divider</vt:lpstr>
      <vt:lpstr>1_report_slides</vt:lpstr>
      <vt:lpstr>2_report_slides</vt:lpstr>
      <vt:lpstr>Nornickel Grid 16:9</vt:lpstr>
      <vt:lpstr>Слайд think-cell</vt:lpstr>
      <vt:lpstr>think-cell Slide</vt:lpstr>
      <vt:lpstr>Презентация PowerPoint</vt:lpstr>
      <vt:lpstr>Результаты деятельности компании в области ESG</vt:lpstr>
      <vt:lpstr>Ключевые социальные/благотворительные проекты</vt:lpstr>
      <vt:lpstr>Презентация PowerPoint</vt:lpstr>
      <vt:lpstr>Повышение ESG рейтингов Норникеля от специализированных рейтинговых агентств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Ермилов Александр</dc:creator>
  <cp:lastModifiedBy>Дыкова Татьяна Алексеевна</cp:lastModifiedBy>
  <cp:revision>3465</cp:revision>
  <cp:lastPrinted>2019-11-12T11:50:15Z</cp:lastPrinted>
  <dcterms:modified xsi:type="dcterms:W3CDTF">2019-11-12T12:50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policyId">
    <vt:lpwstr>/deals/30/3325081/Documents</vt:lpwstr>
  </property>
  <property fmtid="{D5CDD505-2E9C-101B-9397-08002B2CF9AE}" pid="3" name="ContentTypeId">
    <vt:lpwstr>0x010100D90557FF080F4CB4B7E7ECF37C5C350500CED7EFA331FAE14AB9250E7DED53D0D5</vt:lpwstr>
  </property>
  <property fmtid="{D5CDD505-2E9C-101B-9397-08002B2CF9AE}" pid="4" name="_dlc_ExpireDate">
    <vt:filetime>2018-12-16T15:55:28Z</vt:filetime>
  </property>
  <property fmtid="{D5CDD505-2E9C-101B-9397-08002B2CF9AE}" pid="5" name="ItemRetentionFormula">
    <vt:lpwstr>&lt;formula id="Microsoft.Office.RecordsManagement.PolicyFeatures.Expiration.Formula.BuiltIn"&gt;&lt;number&gt;30&lt;/number&gt;&lt;property&gt;Modified&lt;/property&gt;&lt;propertyId&gt;28cf69c5-fa48-462a-b5cd-27b6f9d2bd5f&lt;/propertyId&gt;&lt;period&gt;days&lt;/period&gt;&lt;/formula&gt;</vt:lpwstr>
  </property>
  <property fmtid="{D5CDD505-2E9C-101B-9397-08002B2CF9AE}" pid="6" name="PresUniqueID">
    <vt:lpwstr>L16D12AIR70</vt:lpwstr>
  </property>
</Properties>
</file>